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  <p:sldMasterId id="2147483796" r:id="rId2"/>
    <p:sldMasterId id="2147483976" r:id="rId3"/>
  </p:sldMasterIdLst>
  <p:notesMasterIdLst>
    <p:notesMasterId r:id="rId8"/>
  </p:notesMasterIdLst>
  <p:sldIdLst>
    <p:sldId id="2146847895" r:id="rId4"/>
    <p:sldId id="4974" r:id="rId5"/>
    <p:sldId id="4997" r:id="rId6"/>
    <p:sldId id="2146847884" r:id="rId7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21405E9-611E-D6F6-FCFF-C53F4CE88F8F}" name="Anita Du Toit" initials="ADT" userId="161bfa2e6f87c781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0188"/>
    <p:restoredTop sz="94694"/>
  </p:normalViewPr>
  <p:slideViewPr>
    <p:cSldViewPr snapToGrid="0" snapToObjects="1">
      <p:cViewPr varScale="1">
        <p:scale>
          <a:sx n="109" d="100"/>
          <a:sy n="109" d="100"/>
        </p:scale>
        <p:origin x="192" y="3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772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tags" Target="tags/tag1.xml"/><Relationship Id="rId14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Muli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Muli" pitchFamily="2" charset="77"/>
              </a:defRPr>
            </a:lvl1pPr>
          </a:lstStyle>
          <a:p>
            <a:fld id="{F350B714-1084-B043-A560-6735853B88AB}" type="datetimeFigureOut">
              <a:rPr lang="en-GB" smtClean="0"/>
              <a:pPr/>
              <a:t>28/11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Muli" pitchFamily="2" charset="77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Muli" pitchFamily="2" charset="77"/>
              </a:defRPr>
            </a:lvl1pPr>
          </a:lstStyle>
          <a:p>
            <a:fld id="{D4F37367-DA97-E447-99B1-5EEEBDE8A72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27974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Muli" pitchFamily="2" charset="77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C62C02-B936-504C-8868-DD34AC0CC332}" type="slidenum">
              <a:rPr kumimoji="0" lang="en-N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N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4431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billede 11"/>
          <p:cNvSpPr>
            <a:spLocks noGrp="1"/>
          </p:cNvSpPr>
          <p:nvPr>
            <p:ph type="pic" sz="quarter" idx="14" hasCustomPrompt="1"/>
          </p:nvPr>
        </p:nvSpPr>
        <p:spPr>
          <a:xfrm>
            <a:off x="330200" y="296862"/>
            <a:ext cx="11528425" cy="5603195"/>
          </a:xfrm>
          <a:solidFill>
            <a:schemeClr val="bg2"/>
          </a:solidFill>
        </p:spPr>
        <p:txBody>
          <a:bodyPr bIns="72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Click on the icon to insert a pictur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330199" y="3228050"/>
            <a:ext cx="5621338" cy="2269671"/>
          </a:xfrm>
          <a:solidFill>
            <a:schemeClr val="accent1"/>
          </a:solidFill>
        </p:spPr>
        <p:txBody>
          <a:bodyPr lIns="360000" tIns="72000" rIns="180000" bIns="72000" anchor="ctr" anchorCtr="0">
            <a:noAutofit/>
          </a:bodyPr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30200" y="6058800"/>
            <a:ext cx="5621338" cy="648000"/>
          </a:xfrm>
        </p:spPr>
        <p:txBody>
          <a:bodyPr tIns="90000" anchor="t" anchorCtr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noProof="0" dirty="0"/>
              <a:t>Click here to add text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13B5315-BFC7-48CF-942F-A41FB2F479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fld id="{F1CD44C5-6B23-48C1-9CBC-DA5D4F557BC5}" type="datetime4">
              <a:rPr lang="en-US" smtClean="0"/>
              <a:t>November 28, 2023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FAF126D-0BD5-4CC6-BA1F-82AB834E76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AAAFB3B-2789-465E-BD43-3B191009E5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36600BE-BE44-43BD-B0D1-6073E83502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9541" y="6436800"/>
            <a:ext cx="1904236" cy="278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661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296864"/>
            <a:ext cx="11530012" cy="819218"/>
          </a:xfrm>
        </p:spPr>
        <p:txBody>
          <a:bodyPr/>
          <a:lstStyle>
            <a:lvl1pPr>
              <a:defRPr sz="2400">
                <a:solidFill>
                  <a:srgbClr val="515065"/>
                </a:solidFill>
              </a:defRPr>
            </a:lvl1pPr>
          </a:lstStyle>
          <a:p>
            <a:r>
              <a:rPr lang="en-US" dirty="0"/>
              <a:t>Click to add action title (full sentenc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0201" y="1592262"/>
            <a:ext cx="11530011" cy="446563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baseline="0"/>
            </a:lvl4pPr>
          </a:lstStyle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  <a:p>
            <a:pPr lvl="3"/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D682298-D862-49DB-B5B6-40568E56D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0201" y="6297237"/>
            <a:ext cx="9470349" cy="26035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 dirty="0"/>
              <a:t>Notes:</a:t>
            </a:r>
            <a:br>
              <a:rPr lang="en-US" dirty="0"/>
            </a:br>
            <a:r>
              <a:rPr lang="en-US" dirty="0"/>
              <a:t>Source: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012F2F2-D7C7-4ABB-8C8D-092B89B20EF8}"/>
              </a:ext>
            </a:extLst>
          </p:cNvPr>
          <p:cNvCxnSpPr/>
          <p:nvPr userDrawn="1"/>
        </p:nvCxnSpPr>
        <p:spPr>
          <a:xfrm>
            <a:off x="0" y="1116082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13CB24C-542C-4274-AA9E-4B12E6A05BC2}"/>
              </a:ext>
            </a:extLst>
          </p:cNvPr>
          <p:cNvCxnSpPr/>
          <p:nvPr userDrawn="1"/>
        </p:nvCxnSpPr>
        <p:spPr>
          <a:xfrm>
            <a:off x="0" y="6249090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187968-A842-4743-8473-0EFF0F42206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20524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296863"/>
            <a:ext cx="11530012" cy="819205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add action title (full sentenc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0201" y="1592262"/>
            <a:ext cx="5621337" cy="446563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</a:lstStyle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40462" y="1592262"/>
            <a:ext cx="5622925" cy="4465637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</a:lstStyle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DB68D5-7443-4221-BAD9-400CB92E6E20}"/>
              </a:ext>
            </a:extLst>
          </p:cNvPr>
          <p:cNvCxnSpPr/>
          <p:nvPr userDrawn="1"/>
        </p:nvCxnSpPr>
        <p:spPr>
          <a:xfrm>
            <a:off x="0" y="1116082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17E5196-E32D-4312-BCB9-EB1491A11C35}"/>
              </a:ext>
            </a:extLst>
          </p:cNvPr>
          <p:cNvCxnSpPr/>
          <p:nvPr userDrawn="1"/>
        </p:nvCxnSpPr>
        <p:spPr>
          <a:xfrm>
            <a:off x="0" y="6249090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4F02EFB-0D99-4C20-B76F-A9567F6A61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0201" y="6297237"/>
            <a:ext cx="9470349" cy="26035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 dirty="0"/>
              <a:t>Notes:</a:t>
            </a:r>
            <a:br>
              <a:rPr lang="en-US" dirty="0"/>
            </a:br>
            <a:r>
              <a:rPr lang="en-US" dirty="0"/>
              <a:t>Source: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F4C429-F779-4D9C-A345-CF7923321C1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149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ing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0DB89E68-7B9C-4331-B528-B81EBE7ABF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0DB89E68-7B9C-4331-B528-B81EBE7ABF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03224BA-67A3-4C4D-AB30-9650BAD222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 err="1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Noto Sans" panose="020B0502040504020204" pitchFamily="34" charset="0"/>
            </a:endParaRP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28BB469-D9D3-42D6-BCA5-E016CB996377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330201" y="660945"/>
            <a:ext cx="11530012" cy="455132"/>
          </a:xfrm>
        </p:spPr>
        <p:txBody>
          <a:bodyPr bIns="126000" anchor="t" anchorCtr="0"/>
          <a:lstStyle>
            <a:lvl1pPr marL="0" indent="0" algn="l">
              <a:spcBef>
                <a:spcPts val="0"/>
              </a:spcBef>
              <a:buNone/>
              <a:defRPr sz="2400" b="1">
                <a:solidFill>
                  <a:schemeClr val="tx2"/>
                </a:solidFill>
                <a:latin typeface="+mj-lt"/>
                <a:ea typeface="Noto Sans" panose="020B0502040504020204" pitchFamily="34"/>
                <a:cs typeface="Noto Sans" panose="020B0502040504020204" pitchFamily="34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header (one or few words)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49C5D87-47E0-4333-9EC1-03590F37D5DA}"/>
              </a:ext>
            </a:extLst>
          </p:cNvPr>
          <p:cNvCxnSpPr/>
          <p:nvPr userDrawn="1"/>
        </p:nvCxnSpPr>
        <p:spPr>
          <a:xfrm>
            <a:off x="0" y="1116082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591908-8F9D-447D-9C11-A6E2C7FDD515}"/>
              </a:ext>
            </a:extLst>
          </p:cNvPr>
          <p:cNvCxnSpPr/>
          <p:nvPr userDrawn="1"/>
        </p:nvCxnSpPr>
        <p:spPr>
          <a:xfrm>
            <a:off x="0" y="6249090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043BC94-717D-4832-BC7E-7FBD8E5A04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0201" y="6297237"/>
            <a:ext cx="9470349" cy="26035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800"/>
            </a:lvl1pPr>
          </a:lstStyle>
          <a:p>
            <a:pPr lvl="0"/>
            <a:r>
              <a:rPr lang="en-US" dirty="0"/>
              <a:t>Notes:</a:t>
            </a:r>
            <a:br>
              <a:rPr lang="en-US" dirty="0"/>
            </a:br>
            <a:r>
              <a:rPr lang="en-US" dirty="0"/>
              <a:t>Source: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0CE5A5C-5142-4367-B0EB-8D93E5AC8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1027CA2E-009D-434F-9455-F4A3DCB6DED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4397486"/>
      </p:ext>
    </p:extLst>
  </p:cSld>
  <p:clrMapOvr>
    <a:masterClrMapping/>
  </p:clrMapOvr>
  <p:hf sldNum="0"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ckground">
            <a:extLst>
              <a:ext uri="{FF2B5EF4-FFF2-40B4-BE49-F238E27FC236}">
                <a16:creationId xmlns:a16="http://schemas.microsoft.com/office/drawing/2014/main" id="{FC65C2C5-3B9A-47F6-8247-B64AE379853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1592263"/>
            <a:ext cx="5621338" cy="4465637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a-DK" sz="4800" b="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29CDCA-CD25-6143-ABAE-91E038FBC0FE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E20DB7-E8A4-4F92-8EF2-D6B90489FC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88577" y="6508800"/>
            <a:ext cx="1477819" cy="216360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8D4595-8C07-4DE8-B31E-D44C56B9E8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5683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B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BFA65FDF-1A47-488C-B82B-14C44ECADD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B7E8F"/>
          </a:solidFill>
          <a:ln>
            <a:solidFill>
              <a:srgbClr val="7B7E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1592263"/>
            <a:ext cx="5621338" cy="4465637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a-DK" sz="4800" b="0" dirty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AC55703-2AA9-A245-98C3-1FBE2B70CEF7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6ED9B82-D20C-45EA-AB0F-235C994457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88577" y="6508800"/>
            <a:ext cx="1477819" cy="21636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A7CDBD-CE98-4D9F-887C-FEA3C5CEE1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727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Image">
    <p:bg>
      <p:bgPr>
        <a:solidFill>
          <a:srgbClr val="7B7E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11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lIns="6480000" anchor="ctr" anchorCtr="0"/>
          <a:lstStyle>
            <a:lvl1pPr marL="0" indent="0" algn="l">
              <a:buNone/>
              <a:defRPr sz="1600" baseline="0"/>
            </a:lvl1pPr>
          </a:lstStyle>
          <a:p>
            <a:r>
              <a:rPr lang="en-US" dirty="0"/>
              <a:t>Click on the icon to insert a pictu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1591200"/>
            <a:ext cx="5621338" cy="4467600"/>
          </a:xfr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defRPr lang="da-DK" sz="4800" b="0" dirty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8" name="Pladsholder til tekst 13">
            <a:extLst>
              <a:ext uri="{FF2B5EF4-FFF2-40B4-BE49-F238E27FC236}">
                <a16:creationId xmlns:a16="http://schemas.microsoft.com/office/drawing/2014/main" id="{8A1BB6A7-D5FB-4FCD-B54E-8BAB943281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61200" y="6436800"/>
            <a:ext cx="1904400" cy="2772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r="3" b="2"/>
            </a:stretch>
          </a:blipFill>
        </p:spPr>
        <p:txBody>
          <a:bodyPr/>
          <a:lstStyle>
            <a:lvl1pPr algn="r"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1096B17-6E45-C840-A95A-E285F2E43C5C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A84772-A593-4260-8277-9AC15DB00D4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0396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C72D08B-2E18-7949-9B5A-35540A47CD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200" y="1592264"/>
            <a:ext cx="5637783" cy="4465636"/>
          </a:xfrm>
          <a:noFill/>
        </p:spPr>
        <p:txBody>
          <a:bodyPr vert="horz" lIns="0" tIns="0" rIns="0" bIns="0" rtlCol="0" anchor="ctr" anchorCtr="0">
            <a:noAutofit/>
          </a:bodyPr>
          <a:lstStyle>
            <a:lvl1pPr>
              <a:defRPr lang="da-DK" sz="4000" b="0" dirty="0">
                <a:solidFill>
                  <a:srgbClr val="7B7E8F"/>
                </a:solidFill>
              </a:defRPr>
            </a:lvl1pPr>
          </a:lstStyle>
          <a:p>
            <a:r>
              <a:rPr lang="en-US" dirty="0"/>
              <a:t>Click to add final text or statement text. Use Purple color to highlight wor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70BFDD-C67A-F046-8D67-CFBBDACDDBD0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B2AA0B0-49AC-4CEF-91B3-08F26430A3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273600"/>
            <a:ext cx="3805797" cy="55719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0CE67F1-A8B5-4AE9-AC72-C453E8271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1338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CC3AC01-551F-4A44-B1AE-7CAB5146C8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action title (full sentence)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B68E17-83E2-4AE5-A3AC-709151B37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5AAA109A-3D46-4456-9DB1-8ACC906498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8613" y="6164394"/>
            <a:ext cx="5622926" cy="365555"/>
          </a:xfrm>
        </p:spPr>
        <p:txBody>
          <a:bodyPr anchor="t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buNone/>
              <a:defRPr sz="1000"/>
            </a:lvl2pPr>
            <a:lvl3pPr marL="0" indent="0">
              <a:lnSpc>
                <a:spcPct val="110000"/>
              </a:lnSpc>
              <a:buNone/>
              <a:defRPr sz="1000"/>
            </a:lvl3pPr>
            <a:lvl4pPr marL="0" indent="0">
              <a:lnSpc>
                <a:spcPct val="110000"/>
              </a:lnSpc>
              <a:buNone/>
              <a:defRPr sz="1000"/>
            </a:lvl4pPr>
            <a:lvl5pPr marL="0" indent="0">
              <a:lnSpc>
                <a:spcPct val="110000"/>
              </a:lnSpc>
              <a:buNone/>
              <a:defRPr sz="1000"/>
            </a:lvl5pPr>
          </a:lstStyle>
          <a:p>
            <a:pPr lvl="0"/>
            <a:r>
              <a:rPr lang="en-US" dirty="0"/>
              <a:t>Click to add note text, use | to divide notes</a:t>
            </a:r>
          </a:p>
        </p:txBody>
      </p:sp>
    </p:spTree>
    <p:extLst>
      <p:ext uri="{BB962C8B-B14F-4D97-AF65-F5344CB8AC3E}">
        <p14:creationId xmlns:p14="http://schemas.microsoft.com/office/powerpoint/2010/main" val="14580083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394C3BF-CEFA-4A53-A3B6-B1A0E82481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8577" y="6508800"/>
            <a:ext cx="1477819" cy="21636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8EEA92D-AF69-4A5F-B8CF-30F4FC4ECB38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141B70-CD97-4C7D-B912-6BB9C73E40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04044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Box 2">
            <a:extLst>
              <a:ext uri="{FF2B5EF4-FFF2-40B4-BE49-F238E27FC236}">
                <a16:creationId xmlns:a16="http://schemas.microsoft.com/office/drawing/2014/main" id="{2C017810-3659-47C9-B8D9-7AC14FD2390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0200" y="297199"/>
            <a:ext cx="11533188" cy="100772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lvl1pPr marL="18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36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54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marL="0" indent="0">
              <a:buNone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515065"/>
                </a:solidFill>
                <a:effectLst/>
                <a:uLnTx/>
                <a:uFillTx/>
                <a:latin typeface="+mj-lt"/>
                <a:ea typeface="Noto Sans" panose="020B0502040504020204" pitchFamily="34" charset="0"/>
                <a:cs typeface="Noto Sans" panose="020B0502040504020204" pitchFamily="34" charset="0"/>
              </a:rPr>
              <a:t>General guidance (delete slide before use)</a:t>
            </a:r>
            <a:endParaRPr lang="en-US" sz="2400" dirty="0">
              <a:latin typeface="+mj-lt"/>
            </a:endParaRPr>
          </a:p>
        </p:txBody>
      </p:sp>
      <p:sp>
        <p:nvSpPr>
          <p:cNvPr id="16" name="Text Box 2">
            <a:extLst>
              <a:ext uri="{FF2B5EF4-FFF2-40B4-BE49-F238E27FC236}">
                <a16:creationId xmlns:a16="http://schemas.microsoft.com/office/drawing/2014/main" id="{5B9422FE-53F4-49B3-A4C0-03B3230F777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87147" y="1595140"/>
            <a:ext cx="2310679" cy="446275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lvl1pPr marL="18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36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54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b="1" noProof="1">
                <a:latin typeface="+mn-lt"/>
              </a:rPr>
              <a:t>Corporate Language = </a:t>
            </a:r>
            <a:r>
              <a:rPr lang="en-US" sz="1000" b="1" noProof="1">
                <a:solidFill>
                  <a:schemeClr val="accent1"/>
                </a:solidFill>
                <a:latin typeface="+mn-lt"/>
              </a:rPr>
              <a:t>US</a:t>
            </a:r>
            <a:r>
              <a:rPr lang="en-US" sz="1000" b="1" noProof="1">
                <a:latin typeface="+mn-lt"/>
              </a:rPr>
              <a:t>-Englis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altLang="da-DK" sz="1000" kern="1200" noProof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. Change the default setting of your Powerpoint to US-English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altLang="da-DK" sz="1000" kern="1200" noProof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. Make sure to perform a spell check before sending a document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b="1" noProof="1">
                <a:latin typeface="+mn-lt"/>
              </a:rPr>
              <a:t>Use text styles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altLang="da-DK" sz="1000" noProof="1">
                <a:latin typeface="+mn-lt"/>
              </a:rPr>
              <a:t>Use the </a:t>
            </a:r>
            <a:r>
              <a:rPr lang="en-US" altLang="da-DK" sz="1000" noProof="1">
                <a:solidFill>
                  <a:schemeClr val="accent1"/>
                </a:solidFill>
                <a:latin typeface="+mn-lt"/>
              </a:rPr>
              <a:t>TAB-key</a:t>
            </a:r>
            <a:r>
              <a:rPr lang="en-US" altLang="da-DK" sz="1000" noProof="1">
                <a:latin typeface="+mn-lt"/>
              </a:rPr>
              <a:t> to jump through </a:t>
            </a:r>
            <a:br>
              <a:rPr lang="en-US" altLang="da-DK" sz="1000" noProof="1">
                <a:latin typeface="+mn-lt"/>
              </a:rPr>
            </a:br>
            <a:r>
              <a:rPr lang="en-US" altLang="da-DK" sz="1000" noProof="1">
                <a:latin typeface="+mn-lt"/>
              </a:rPr>
              <a:t>levels. Click ENTER, then TAB to switch from one level to the next level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altLang="da-DK" sz="1000" noProof="1">
                <a:latin typeface="+mn-lt"/>
              </a:rPr>
              <a:t>To go back in levels use SHIFT-TAB</a:t>
            </a:r>
            <a:endParaRPr lang="en-US" sz="1000" noProof="1">
              <a:latin typeface="+mn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1000" noProof="1">
                <a:latin typeface="+mn-lt"/>
              </a:rPr>
              <a:t>Alternatively, Increase and</a:t>
            </a:r>
            <a:br>
              <a:rPr lang="en-US" sz="1000" noProof="1">
                <a:latin typeface="+mn-lt"/>
              </a:rPr>
            </a:br>
            <a:r>
              <a:rPr lang="en-US" sz="1000" noProof="1">
                <a:latin typeface="+mn-lt"/>
              </a:rPr>
              <a:t>Decrease list level can be used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b="1" dirty="0">
                <a:latin typeface="+mn-lt"/>
              </a:rPr>
              <a:t>Insert a New Slide</a:t>
            </a:r>
            <a:endParaRPr lang="en-US" sz="1000" b="1" noProof="1">
              <a:latin typeface="+mn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altLang="da-DK" sz="1000" noProof="1">
                <a:latin typeface="+mn-lt"/>
              </a:rPr>
              <a:t>1. Click on the Home tab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altLang="da-DK" sz="1000" noProof="1">
                <a:latin typeface="+mn-lt"/>
              </a:rPr>
              <a:t>2. Click on the New Slide to insert </a:t>
            </a:r>
            <a:br>
              <a:rPr lang="en-US" altLang="da-DK" sz="1000" noProof="1">
                <a:latin typeface="+mn-lt"/>
              </a:rPr>
            </a:br>
            <a:r>
              <a:rPr lang="en-US" altLang="da-DK" sz="1000" noProof="1">
                <a:latin typeface="+mn-lt"/>
              </a:rPr>
              <a:t>new slid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b="1" dirty="0">
                <a:latin typeface="+mn-lt"/>
              </a:rPr>
              <a:t>Change Slide Layout</a:t>
            </a:r>
            <a:endParaRPr lang="en-US" altLang="da-DK" sz="1000" b="1" noProof="1">
              <a:latin typeface="+mn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1. Click on the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arrow next to Layout</a:t>
            </a:r>
            <a:br>
              <a:rPr lang="en-US" sz="1000" dirty="0">
                <a:latin typeface="+mn-lt"/>
              </a:rPr>
            </a:br>
            <a:r>
              <a:rPr lang="en-US" sz="1000" dirty="0">
                <a:latin typeface="+mn-lt"/>
              </a:rPr>
              <a:t>to view a dropdown menu of possible slide layouts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2. Click on the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layout you prefer </a:t>
            </a:r>
            <a:r>
              <a:rPr lang="en-US" sz="1000" dirty="0">
                <a:latin typeface="+mn-lt"/>
              </a:rPr>
              <a:t>and it will be applied to the new slid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b="1" noProof="1">
                <a:latin typeface="+mn-lt"/>
              </a:rPr>
              <a:t>Insert picture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altLang="da-DK" sz="1000" noProof="1">
                <a:latin typeface="+mn-lt"/>
              </a:rPr>
              <a:t>On slides with picture placeholder, </a:t>
            </a:r>
            <a:br>
              <a:rPr lang="en-US" altLang="da-DK" sz="1000" noProof="1">
                <a:latin typeface="+mn-lt"/>
              </a:rPr>
            </a:br>
            <a:r>
              <a:rPr lang="en-US" altLang="da-DK" sz="1000" noProof="1">
                <a:latin typeface="+mn-lt"/>
              </a:rPr>
              <a:t>click on the icon and choose Insert</a:t>
            </a:r>
            <a:endParaRPr lang="en-US" sz="1000" noProof="1">
              <a:latin typeface="+mn-lt"/>
            </a:endParaRPr>
          </a:p>
        </p:txBody>
      </p:sp>
      <p:sp>
        <p:nvSpPr>
          <p:cNvPr id="17" name="Text Box 3">
            <a:extLst>
              <a:ext uri="{FF2B5EF4-FFF2-40B4-BE49-F238E27FC236}">
                <a16:creationId xmlns:a16="http://schemas.microsoft.com/office/drawing/2014/main" id="{13AF0488-D3AC-4DF4-8830-0BC6E3F9D49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123" y="1595140"/>
            <a:ext cx="2693076" cy="432426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000" b="1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36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54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en-US" noProof="1">
                <a:latin typeface="+mn-lt"/>
              </a:rPr>
              <a:t>Change picture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1. Click </a:t>
            </a:r>
            <a:r>
              <a:rPr lang="en-US" altLang="da-DK" b="0" noProof="1">
                <a:solidFill>
                  <a:schemeClr val="accent1"/>
                </a:solidFill>
                <a:latin typeface="+mn-lt"/>
              </a:rPr>
              <a:t>Crop</a:t>
            </a:r>
            <a:r>
              <a:rPr lang="en-US" altLang="da-DK" b="0" noProof="1">
                <a:latin typeface="+mn-lt"/>
              </a:rPr>
              <a:t> to change size or focus of the picture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2. If you want to scale the picture, hold SHIFT-key down while dragging the corners of the picture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Hint: If you delete the picture and insert a new one, the picture may lie in front of the text or graphic. If this happens, select the picture, right-click and choose </a:t>
            </a:r>
            <a:r>
              <a:rPr lang="en-US" altLang="da-DK" b="0" noProof="1">
                <a:solidFill>
                  <a:schemeClr val="accent1"/>
                </a:solidFill>
                <a:latin typeface="+mn-lt"/>
              </a:rPr>
              <a:t>Send to Back</a:t>
            </a:r>
          </a:p>
          <a:p>
            <a:pPr>
              <a:lnSpc>
                <a:spcPct val="100000"/>
              </a:lnSpc>
            </a:pPr>
            <a:r>
              <a:rPr lang="en-US" noProof="1">
                <a:latin typeface="+mn-lt"/>
              </a:rPr>
              <a:t>Reset slide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1. Click the Home tab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2. Click the Reset menu to reset position, size and formatting of the slide placeholders to their default settings</a:t>
            </a:r>
          </a:p>
          <a:p>
            <a:pPr>
              <a:lnSpc>
                <a:spcPct val="100000"/>
              </a:lnSpc>
            </a:pPr>
            <a:r>
              <a:rPr lang="en-US" noProof="1">
                <a:latin typeface="+mn-lt"/>
              </a:rPr>
              <a:t>Change slide number, date and footer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Do this at the </a:t>
            </a:r>
            <a:r>
              <a:rPr lang="en-US" altLang="da-DK" b="0" noProof="1">
                <a:solidFill>
                  <a:schemeClr val="accent1"/>
                </a:solidFill>
                <a:latin typeface="+mn-lt"/>
              </a:rPr>
              <a:t>very end</a:t>
            </a:r>
            <a:r>
              <a:rPr lang="en-US" altLang="da-DK" b="0" noProof="1">
                <a:latin typeface="+mn-lt"/>
              </a:rPr>
              <a:t>, so you get all the corrections on all slides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1. Click the Insert tab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2. Click on Header and Footer (write the desired text)</a:t>
            </a:r>
          </a:p>
          <a:p>
            <a:pPr>
              <a:lnSpc>
                <a:spcPct val="100000"/>
              </a:lnSpc>
            </a:pPr>
            <a:r>
              <a:rPr lang="en-US" altLang="da-DK" b="0" noProof="1">
                <a:latin typeface="+mn-lt"/>
              </a:rPr>
              <a:t>3. Click </a:t>
            </a:r>
            <a:r>
              <a:rPr lang="en-US" altLang="da-DK" b="0" noProof="1">
                <a:solidFill>
                  <a:schemeClr val="accent1"/>
                </a:solidFill>
                <a:latin typeface="+mn-lt"/>
              </a:rPr>
              <a:t>Apply to All </a:t>
            </a:r>
            <a:r>
              <a:rPr lang="en-US" altLang="da-DK" b="0" noProof="1">
                <a:latin typeface="+mn-lt"/>
              </a:rPr>
              <a:t>or Apply if only used on one slide</a:t>
            </a:r>
          </a:p>
        </p:txBody>
      </p:sp>
      <p:sp>
        <p:nvSpPr>
          <p:cNvPr id="36" name="Text Box 2">
            <a:extLst>
              <a:ext uri="{FF2B5EF4-FFF2-40B4-BE49-F238E27FC236}">
                <a16:creationId xmlns:a16="http://schemas.microsoft.com/office/drawing/2014/main" id="{B34BD776-AD41-4516-998A-44B24FC6B3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0200" y="1592262"/>
            <a:ext cx="3133434" cy="446275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>
            <a:noAutofit/>
          </a:bodyPr>
          <a:lstStyle>
            <a:lvl1pPr marL="18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2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1pPr>
            <a:lvl2pPr marL="36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2pPr>
            <a:lvl3pPr marL="54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3pPr>
            <a:lvl4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4pPr>
            <a:lvl5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5pPr>
            <a:lvl6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 baseline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6pPr>
            <a:lvl7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7pPr>
            <a:lvl8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8pPr>
            <a:lvl9pPr marL="720000" indent="-180000">
              <a:lnSpc>
                <a:spcPct val="90000"/>
              </a:lnSpc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000" b="1" dirty="0">
                <a:solidFill>
                  <a:schemeClr val="tx1"/>
                </a:solidFill>
                <a:latin typeface="+mn-lt"/>
              </a:rPr>
              <a:t>Only share ppt presentations </a:t>
            </a:r>
            <a:r>
              <a:rPr lang="en-US" sz="1000" b="1" dirty="0">
                <a:solidFill>
                  <a:srgbClr val="7030A0"/>
                </a:solidFill>
                <a:latin typeface="+mn-lt"/>
              </a:rPr>
              <a:t>externally as PDF!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000" b="1" dirty="0">
              <a:latin typeface="+mn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1000" b="1" dirty="0">
                <a:latin typeface="+mn-lt"/>
              </a:rPr>
              <a:t>Getting started</a:t>
            </a:r>
            <a:endParaRPr lang="en-US" sz="1000" dirty="0">
              <a:latin typeface="+mn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Always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start </a:t>
            </a:r>
            <a:r>
              <a:rPr lang="en-US" sz="1000" dirty="0">
                <a:latin typeface="+mn-lt"/>
              </a:rPr>
              <a:t>new presentations using a blank PowerPoint template. Select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View – Guides </a:t>
            </a:r>
            <a:r>
              <a:rPr lang="en-US" sz="1000" dirty="0">
                <a:latin typeface="+mn-lt"/>
              </a:rPr>
              <a:t>in the menu to implement new text/pictures correctly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When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importing slides</a:t>
            </a:r>
            <a:r>
              <a:rPr lang="en-US" sz="1000" dirty="0">
                <a:latin typeface="+mn-lt"/>
              </a:rPr>
              <a:t>, update the layout of each slide to an option in this template. Font needs to be turned into Noto Sans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Use guides to ensure content is placed within the correct margins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b="1" dirty="0">
                <a:latin typeface="+mn-lt"/>
              </a:rPr>
              <a:t>Styling tips</a:t>
            </a:r>
            <a:endParaRPr lang="en-US" sz="1000" dirty="0">
              <a:latin typeface="+mn-lt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Try to keep slides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simple</a:t>
            </a:r>
            <a:r>
              <a:rPr lang="en-US" sz="1000" dirty="0">
                <a:latin typeface="+mn-lt"/>
              </a:rPr>
              <a:t> – make one main point per slide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Only use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colors</a:t>
            </a:r>
            <a:r>
              <a:rPr lang="en-US" sz="1000" dirty="0">
                <a:latin typeface="+mn-lt"/>
              </a:rPr>
              <a:t> that are part of the embedded color scheme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Consider text </a:t>
            </a:r>
            <a:r>
              <a:rPr lang="en-US" sz="1000" dirty="0">
                <a:solidFill>
                  <a:schemeClr val="accent1"/>
                </a:solidFill>
                <a:latin typeface="+mn-lt"/>
              </a:rPr>
              <a:t>legibility</a:t>
            </a:r>
            <a:r>
              <a:rPr lang="en-US" sz="1000" dirty="0">
                <a:latin typeface="+mn-lt"/>
              </a:rPr>
              <a:t> and cropping when using background images.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000" dirty="0">
                <a:latin typeface="+mn-lt"/>
              </a:rPr>
              <a:t>Avoid the use of all CAPS in headlines and body tex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hen writing the </a:t>
            </a:r>
            <a:r>
              <a:rPr lang="en-US" sz="1000" b="0" kern="1200" dirty="0">
                <a:solidFill>
                  <a:schemeClr val="accent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ate</a:t>
            </a:r>
            <a:r>
              <a:rPr lang="en-US" sz="1000" b="1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US" sz="1000" b="0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o for (example) October 25, 2019, and in tables, graphics and diagrams: Oct 25, 201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b="1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urrency</a:t>
            </a:r>
            <a:r>
              <a:rPr lang="en-US" sz="1000" b="0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use symbols only: $; €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b="1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Units: </a:t>
            </a:r>
            <a:r>
              <a:rPr lang="en-US" sz="1000" b="0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illion = M,; Billion = 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lang="en-US" sz="1000" b="0" kern="1200" dirty="0">
                <a:solidFill>
                  <a:schemeClr val="tx2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3 million euro = €13M</a:t>
            </a:r>
          </a:p>
        </p:txBody>
      </p:sp>
      <p:pic>
        <p:nvPicPr>
          <p:cNvPr id="28" name="1 Increase decrease">
            <a:extLst>
              <a:ext uri="{FF2B5EF4-FFF2-40B4-BE49-F238E27FC236}">
                <a16:creationId xmlns:a16="http://schemas.microsoft.com/office/drawing/2014/main" id="{38EE3CEA-ED40-4EF0-8D13-B5E42435A7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0888" y="1808382"/>
            <a:ext cx="601877" cy="312513"/>
          </a:xfrm>
          <a:prstGeom prst="rect">
            <a:avLst/>
          </a:prstGeom>
        </p:spPr>
      </p:pic>
      <p:pic>
        <p:nvPicPr>
          <p:cNvPr id="29" name="2 New picture">
            <a:extLst>
              <a:ext uri="{FF2B5EF4-FFF2-40B4-BE49-F238E27FC236}">
                <a16:creationId xmlns:a16="http://schemas.microsoft.com/office/drawing/2014/main" id="{2BBA628C-97C8-49C3-BD00-C32FC64699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7476" y="2971205"/>
            <a:ext cx="355831" cy="633552"/>
          </a:xfrm>
          <a:prstGeom prst="rect">
            <a:avLst/>
          </a:prstGeom>
        </p:spPr>
      </p:pic>
      <p:pic>
        <p:nvPicPr>
          <p:cNvPr id="30" name="3 Layout">
            <a:extLst>
              <a:ext uri="{FF2B5EF4-FFF2-40B4-BE49-F238E27FC236}">
                <a16:creationId xmlns:a16="http://schemas.microsoft.com/office/drawing/2014/main" id="{2D143D6A-3B27-491B-AF93-6B6928AA15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944" r="2272" b="69429"/>
          <a:stretch/>
        </p:blipFill>
        <p:spPr>
          <a:xfrm>
            <a:off x="6943083" y="3940228"/>
            <a:ext cx="650130" cy="210598"/>
          </a:xfrm>
          <a:prstGeom prst="rect">
            <a:avLst/>
          </a:prstGeom>
        </p:spPr>
      </p:pic>
      <p:pic>
        <p:nvPicPr>
          <p:cNvPr id="31" name="4 Reset">
            <a:extLst>
              <a:ext uri="{FF2B5EF4-FFF2-40B4-BE49-F238E27FC236}">
                <a16:creationId xmlns:a16="http://schemas.microsoft.com/office/drawing/2014/main" id="{CA7A8412-96BD-47A3-9BD3-16106D6D7CD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0652" y="3429000"/>
            <a:ext cx="539561" cy="219588"/>
          </a:xfrm>
          <a:prstGeom prst="rect">
            <a:avLst/>
          </a:prstGeom>
        </p:spPr>
      </p:pic>
      <p:pic>
        <p:nvPicPr>
          <p:cNvPr id="32" name="5 Insert picture">
            <a:extLst>
              <a:ext uri="{FF2B5EF4-FFF2-40B4-BE49-F238E27FC236}">
                <a16:creationId xmlns:a16="http://schemas.microsoft.com/office/drawing/2014/main" id="{7ACFA654-BA80-4533-90ED-0E722D8FD30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083" y="5143542"/>
            <a:ext cx="287229" cy="280548"/>
          </a:xfrm>
          <a:prstGeom prst="rect">
            <a:avLst/>
          </a:prstGeom>
        </p:spPr>
      </p:pic>
      <p:pic>
        <p:nvPicPr>
          <p:cNvPr id="33" name="6 Crop">
            <a:extLst>
              <a:ext uri="{FF2B5EF4-FFF2-40B4-BE49-F238E27FC236}">
                <a16:creationId xmlns:a16="http://schemas.microsoft.com/office/drawing/2014/main" id="{A3702581-24AB-473A-8830-8869B74590A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0652" y="1768413"/>
            <a:ext cx="369676" cy="352482"/>
          </a:xfrm>
          <a:prstGeom prst="rect">
            <a:avLst/>
          </a:prstGeom>
        </p:spPr>
      </p:pic>
      <p:pic>
        <p:nvPicPr>
          <p:cNvPr id="34" name="7 Scale picture">
            <a:extLst>
              <a:ext uri="{FF2B5EF4-FFF2-40B4-BE49-F238E27FC236}">
                <a16:creationId xmlns:a16="http://schemas.microsoft.com/office/drawing/2014/main" id="{27DB2865-E4FF-4E45-8513-B09F24A7E8C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96225" y="2256161"/>
            <a:ext cx="394104" cy="367385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103A5A-A255-4DF2-873A-44C0F6DE09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68BA46D-C1BE-4752-9D7D-FD8F9DF28C12}" type="datetime4">
              <a:rPr lang="en-US" smtClean="0"/>
              <a:pPr/>
              <a:t>November 28, 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38E3C2-1764-4CA4-9D29-866B5FDD5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876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096898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billede 11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bIns="72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Click on the icon to insert a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B753F20-189A-054D-8B17-11C6EB6D6B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0199" y="3228050"/>
            <a:ext cx="5621338" cy="2269671"/>
          </a:xfrm>
          <a:solidFill>
            <a:schemeClr val="accent1"/>
          </a:solidFill>
        </p:spPr>
        <p:txBody>
          <a:bodyPr lIns="360000" tIns="72000" rIns="180000" bIns="72000" anchor="ctr" anchorCtr="0"/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CF4A5D8B-02E9-BC49-9744-0FA10C4311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200" y="6058800"/>
            <a:ext cx="5621338" cy="648000"/>
          </a:xfrm>
        </p:spPr>
        <p:txBody>
          <a:bodyPr tIns="90000" anchor="t" anchorCtr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noProof="0" dirty="0"/>
              <a:t>Click here to add text</a:t>
            </a:r>
          </a:p>
        </p:txBody>
      </p:sp>
      <p:sp>
        <p:nvSpPr>
          <p:cNvPr id="2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fld id="{C63D0E99-6FDB-4A90-8743-BBC997F17AC8}" type="datetime4">
              <a:rPr lang="en-US" smtClean="0"/>
              <a:t>November 28, 2023</a:t>
            </a:fld>
            <a:endParaRPr lang="en-US" dirty="0"/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Pladsholder til tekst 13">
            <a:extLst>
              <a:ext uri="{FF2B5EF4-FFF2-40B4-BE49-F238E27FC236}">
                <a16:creationId xmlns:a16="http://schemas.microsoft.com/office/drawing/2014/main" id="{CB00E54A-8020-4DF1-9142-88173915A5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61200" y="6436800"/>
            <a:ext cx="1904400" cy="2772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 r="3" b="2"/>
            </a:stretch>
          </a:blipFill>
        </p:spPr>
        <p:txBody>
          <a:bodyPr/>
          <a:lstStyle>
            <a:lvl1pPr algn="r"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410139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53F648-EAF6-4A97-86E9-98F0F2C18941}"/>
              </a:ext>
            </a:extLst>
          </p:cNvPr>
          <p:cNvSpPr>
            <a:spLocks noGrp="1"/>
          </p:cNvSpPr>
          <p:nvPr userDrawn="1">
            <p:ph type="title" idx="14" hasCustomPrompt="1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112B6F95-266D-4197-9C36-4168144E7E88}"/>
              </a:ext>
            </a:extLst>
          </p:cNvPr>
          <p:cNvCxnSpPr>
            <a:cxnSpLocks/>
          </p:cNvCxnSpPr>
          <p:nvPr userDrawn="1"/>
        </p:nvCxnSpPr>
        <p:spPr>
          <a:xfrm>
            <a:off x="1884483" y="1116082"/>
            <a:ext cx="0" cy="5133008"/>
          </a:xfrm>
          <a:prstGeom prst="line">
            <a:avLst/>
          </a:prstGeom>
          <a:ln w="6350" cap="flat" cmpd="sng" algn="ctr">
            <a:solidFill>
              <a:schemeClr val="tx2">
                <a:lumMod val="10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SP Agenda Section" hidden="1">
            <a:extLst>
              <a:ext uri="{FF2B5EF4-FFF2-40B4-BE49-F238E27FC236}">
                <a16:creationId xmlns:a16="http://schemas.microsoft.com/office/drawing/2014/main" id="{7AB90E57-E567-489F-B081-8AE0A2858AEC}"/>
              </a:ext>
            </a:extLst>
          </p:cNvPr>
          <p:cNvGrpSpPr/>
          <p:nvPr userDrawn="1"/>
        </p:nvGrpSpPr>
        <p:grpSpPr>
          <a:xfrm>
            <a:off x="1894787" y="1450088"/>
            <a:ext cx="8637453" cy="901869"/>
            <a:chOff x="1894787" y="1450088"/>
            <a:chExt cx="8637453" cy="901869"/>
          </a:xfrm>
        </p:grpSpPr>
        <p:sp>
          <p:nvSpPr>
            <p:cNvPr id="20" name="Textbox" hidden="1"/>
            <p:cNvSpPr txBox="1">
              <a:spLocks/>
            </p:cNvSpPr>
            <p:nvPr userDrawn="1"/>
          </p:nvSpPr>
          <p:spPr>
            <a:xfrm>
              <a:off x="3009900" y="1634863"/>
              <a:ext cx="3177968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 hidden="1"/>
            <p:cNvSpPr txBox="1">
              <a:spLocks/>
            </p:cNvSpPr>
            <p:nvPr userDrawn="1"/>
          </p:nvSpPr>
          <p:spPr>
            <a:xfrm>
              <a:off x="3107773" y="1634863"/>
              <a:ext cx="66198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N&gt;</a:t>
              </a:r>
            </a:p>
          </p:txBody>
        </p:sp>
        <p:sp>
          <p:nvSpPr>
            <p:cNvPr id="22" name="Textbox" hidden="1"/>
            <p:cNvSpPr txBox="1">
              <a:spLocks/>
            </p:cNvSpPr>
            <p:nvPr userDrawn="1"/>
          </p:nvSpPr>
          <p:spPr>
            <a:xfrm>
              <a:off x="9895246" y="16348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24" name="Textbox" hidden="1"/>
            <p:cNvSpPr txBox="1">
              <a:spLocks/>
            </p:cNvSpPr>
            <p:nvPr userDrawn="1"/>
          </p:nvSpPr>
          <p:spPr>
            <a:xfrm>
              <a:off x="7773462" y="16348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28" name="Textbox" hidden="1"/>
            <p:cNvSpPr txBox="1">
              <a:spLocks/>
            </p:cNvSpPr>
            <p:nvPr userDrawn="1"/>
          </p:nvSpPr>
          <p:spPr>
            <a:xfrm>
              <a:off x="6286632" y="16348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29" name="Textbox" hidden="1"/>
            <p:cNvSpPr txBox="1">
              <a:spLocks/>
            </p:cNvSpPr>
            <p:nvPr userDrawn="1"/>
          </p:nvSpPr>
          <p:spPr>
            <a:xfrm>
              <a:off x="9120523" y="16348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  <p:sp>
          <p:nvSpPr>
            <p:cNvPr id="52" name="Rectangle 51" hidden="1">
              <a:extLst>
                <a:ext uri="{FF2B5EF4-FFF2-40B4-BE49-F238E27FC236}">
                  <a16:creationId xmlns:a16="http://schemas.microsoft.com/office/drawing/2014/main" id="{AF3ADAA0-047D-4A71-95AF-841153131135}"/>
                </a:ext>
              </a:extLst>
            </p:cNvPr>
            <p:cNvSpPr/>
            <p:nvPr userDrawn="1"/>
          </p:nvSpPr>
          <p:spPr>
            <a:xfrm>
              <a:off x="1894787" y="1450088"/>
              <a:ext cx="163805" cy="90186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45" name="Textbox" hidden="1">
              <a:extLst>
                <a:ext uri="{FF2B5EF4-FFF2-40B4-BE49-F238E27FC236}">
                  <a16:creationId xmlns:a16="http://schemas.microsoft.com/office/drawing/2014/main" id="{78D04D5B-8545-4293-81DD-F812C2C0DD1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804083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b="1" dirty="0">
                  <a:solidFill>
                    <a:schemeClr val="tx1"/>
                  </a:solidFill>
                </a:rPr>
                <a:t>Topic:</a:t>
              </a:r>
            </a:p>
          </p:txBody>
        </p:sp>
      </p:grpSp>
      <p:grpSp>
        <p:nvGrpSpPr>
          <p:cNvPr id="53" name="SP Agenda Section Highlight" hidden="1">
            <a:extLst>
              <a:ext uri="{FF2B5EF4-FFF2-40B4-BE49-F238E27FC236}">
                <a16:creationId xmlns:a16="http://schemas.microsoft.com/office/drawing/2014/main" id="{399BE1E3-7060-4D10-A178-DFFC8A7AE4A7}"/>
              </a:ext>
            </a:extLst>
          </p:cNvPr>
          <p:cNvGrpSpPr/>
          <p:nvPr userDrawn="1"/>
        </p:nvGrpSpPr>
        <p:grpSpPr>
          <a:xfrm>
            <a:off x="1894787" y="2593442"/>
            <a:ext cx="8637453" cy="901869"/>
            <a:chOff x="1894787" y="1450088"/>
            <a:chExt cx="8637453" cy="901869"/>
          </a:xfrm>
        </p:grpSpPr>
        <p:sp>
          <p:nvSpPr>
            <p:cNvPr id="54" name="Textbox" hidden="1">
              <a:extLst>
                <a:ext uri="{FF2B5EF4-FFF2-40B4-BE49-F238E27FC236}">
                  <a16:creationId xmlns:a16="http://schemas.microsoft.com/office/drawing/2014/main" id="{C9E7325E-37D3-4C24-A228-6BEC7C9D4A2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09900" y="1634863"/>
              <a:ext cx="3177968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>
                  <a:solidFill>
                    <a:schemeClr val="accent1"/>
                  </a:solidFill>
                </a:rPr>
                <a:t>&lt;TEXT&gt;</a:t>
              </a:r>
            </a:p>
          </p:txBody>
        </p:sp>
        <p:sp>
          <p:nvSpPr>
            <p:cNvPr id="55" name="Textbox" hidden="1">
              <a:extLst>
                <a:ext uri="{FF2B5EF4-FFF2-40B4-BE49-F238E27FC236}">
                  <a16:creationId xmlns:a16="http://schemas.microsoft.com/office/drawing/2014/main" id="{76D41B44-854F-4DCF-A308-B219DE8D72F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07773" y="1634863"/>
              <a:ext cx="66198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N&gt;</a:t>
              </a:r>
            </a:p>
          </p:txBody>
        </p:sp>
        <p:sp>
          <p:nvSpPr>
            <p:cNvPr id="56" name="Textbox" hidden="1">
              <a:extLst>
                <a:ext uri="{FF2B5EF4-FFF2-40B4-BE49-F238E27FC236}">
                  <a16:creationId xmlns:a16="http://schemas.microsoft.com/office/drawing/2014/main" id="{6422CD36-100D-4E9D-AFEC-CA729C482353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95246" y="16348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57" name="Textbox" hidden="1">
              <a:extLst>
                <a:ext uri="{FF2B5EF4-FFF2-40B4-BE49-F238E27FC236}">
                  <a16:creationId xmlns:a16="http://schemas.microsoft.com/office/drawing/2014/main" id="{13A24676-A1F6-462B-A676-EC4EBAB780C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773462" y="16348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58" name="Textbox" hidden="1">
              <a:extLst>
                <a:ext uri="{FF2B5EF4-FFF2-40B4-BE49-F238E27FC236}">
                  <a16:creationId xmlns:a16="http://schemas.microsoft.com/office/drawing/2014/main" id="{757AF2F1-5543-45F8-9E0F-C4375CB0AB9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86632" y="16348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59" name="Textbox" hidden="1">
              <a:extLst>
                <a:ext uri="{FF2B5EF4-FFF2-40B4-BE49-F238E27FC236}">
                  <a16:creationId xmlns:a16="http://schemas.microsoft.com/office/drawing/2014/main" id="{12CDC77B-F63B-419A-A55A-E3C2232F3ED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20523" y="16348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  <p:sp>
          <p:nvSpPr>
            <p:cNvPr id="60" name="Rectangle 59" hidden="1">
              <a:extLst>
                <a:ext uri="{FF2B5EF4-FFF2-40B4-BE49-F238E27FC236}">
                  <a16:creationId xmlns:a16="http://schemas.microsoft.com/office/drawing/2014/main" id="{E25D5B57-686D-4753-90E9-5B2D1735D7B9}"/>
                </a:ext>
              </a:extLst>
            </p:cNvPr>
            <p:cNvSpPr/>
            <p:nvPr userDrawn="1"/>
          </p:nvSpPr>
          <p:spPr>
            <a:xfrm>
              <a:off x="1894787" y="1450088"/>
              <a:ext cx="163805" cy="901869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61" name="Textbox" hidden="1">
              <a:extLst>
                <a:ext uri="{FF2B5EF4-FFF2-40B4-BE49-F238E27FC236}">
                  <a16:creationId xmlns:a16="http://schemas.microsoft.com/office/drawing/2014/main" id="{75B22FA1-6399-488A-8934-2A507CF1DD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804083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b="1" dirty="0">
                  <a:solidFill>
                    <a:schemeClr val="accent1"/>
                  </a:solidFill>
                </a:rPr>
                <a:t>Topic:</a:t>
              </a:r>
            </a:p>
          </p:txBody>
        </p:sp>
      </p:grpSp>
      <p:grpSp>
        <p:nvGrpSpPr>
          <p:cNvPr id="36" name="SP Agenda Subsection" hidden="1">
            <a:extLst>
              <a:ext uri="{FF2B5EF4-FFF2-40B4-BE49-F238E27FC236}">
                <a16:creationId xmlns:a16="http://schemas.microsoft.com/office/drawing/2014/main" id="{A646EB6D-C559-4E0C-AC2D-8733411BA670}"/>
              </a:ext>
            </a:extLst>
          </p:cNvPr>
          <p:cNvGrpSpPr/>
          <p:nvPr userDrawn="1"/>
        </p:nvGrpSpPr>
        <p:grpSpPr>
          <a:xfrm>
            <a:off x="3107773" y="3429000"/>
            <a:ext cx="8167673" cy="369332"/>
            <a:chOff x="2364567" y="1634863"/>
            <a:chExt cx="8167673" cy="369332"/>
          </a:xfrm>
        </p:grpSpPr>
        <p:sp>
          <p:nvSpPr>
            <p:cNvPr id="37" name="Textbox" hidden="1">
              <a:extLst>
                <a:ext uri="{FF2B5EF4-FFF2-40B4-BE49-F238E27FC236}">
                  <a16:creationId xmlns:a16="http://schemas.microsoft.com/office/drawing/2014/main" id="{20486BE0-7A3C-4BC1-8159-66D03BBC630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09900" y="1634863"/>
              <a:ext cx="3177968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62" name="Textbox" hidden="1">
              <a:extLst>
                <a:ext uri="{FF2B5EF4-FFF2-40B4-BE49-F238E27FC236}">
                  <a16:creationId xmlns:a16="http://schemas.microsoft.com/office/drawing/2014/main" id="{ED927BE5-8A1F-48AE-94B3-2D5AE8A0210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07773" y="1634863"/>
              <a:ext cx="66198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N&gt;</a:t>
              </a:r>
            </a:p>
          </p:txBody>
        </p:sp>
        <p:sp>
          <p:nvSpPr>
            <p:cNvPr id="63" name="Textbox" hidden="1">
              <a:extLst>
                <a:ext uri="{FF2B5EF4-FFF2-40B4-BE49-F238E27FC236}">
                  <a16:creationId xmlns:a16="http://schemas.microsoft.com/office/drawing/2014/main" id="{92B777C4-031F-43D4-9DD4-8309863058A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95246" y="16348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64" name="Textbox" hidden="1">
              <a:extLst>
                <a:ext uri="{FF2B5EF4-FFF2-40B4-BE49-F238E27FC236}">
                  <a16:creationId xmlns:a16="http://schemas.microsoft.com/office/drawing/2014/main" id="{9EE0E904-8044-45E1-BA44-BF7A4A7340A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773462" y="16348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65" name="Textbox" hidden="1">
              <a:extLst>
                <a:ext uri="{FF2B5EF4-FFF2-40B4-BE49-F238E27FC236}">
                  <a16:creationId xmlns:a16="http://schemas.microsoft.com/office/drawing/2014/main" id="{99F1232B-62CC-4BF4-9439-5DBB9294B45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86632" y="16348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66" name="Textbox" hidden="1">
              <a:extLst>
                <a:ext uri="{FF2B5EF4-FFF2-40B4-BE49-F238E27FC236}">
                  <a16:creationId xmlns:a16="http://schemas.microsoft.com/office/drawing/2014/main" id="{D93D50A9-CBBD-45AC-B2CA-82073A47394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20523" y="16348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  <p:sp>
          <p:nvSpPr>
            <p:cNvPr id="68" name="Textbox" hidden="1">
              <a:extLst>
                <a:ext uri="{FF2B5EF4-FFF2-40B4-BE49-F238E27FC236}">
                  <a16:creationId xmlns:a16="http://schemas.microsoft.com/office/drawing/2014/main" id="{437D2B84-72FF-4B57-B837-2786BB0AF85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804083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b="1" dirty="0">
                  <a:solidFill>
                    <a:schemeClr val="tx1"/>
                  </a:solidFill>
                </a:rPr>
                <a:t>Topic:</a:t>
              </a:r>
            </a:p>
          </p:txBody>
        </p:sp>
      </p:grpSp>
      <p:grpSp>
        <p:nvGrpSpPr>
          <p:cNvPr id="69" name="SP Agenda Subsection Highlight" hidden="1">
            <a:extLst>
              <a:ext uri="{FF2B5EF4-FFF2-40B4-BE49-F238E27FC236}">
                <a16:creationId xmlns:a16="http://schemas.microsoft.com/office/drawing/2014/main" id="{A7F1C69B-4730-43DE-B68A-3FC990F8A349}"/>
              </a:ext>
            </a:extLst>
          </p:cNvPr>
          <p:cNvGrpSpPr/>
          <p:nvPr userDrawn="1"/>
        </p:nvGrpSpPr>
        <p:grpSpPr>
          <a:xfrm>
            <a:off x="3107773" y="3947223"/>
            <a:ext cx="8167673" cy="369332"/>
            <a:chOff x="2364567" y="1634863"/>
            <a:chExt cx="8167673" cy="369332"/>
          </a:xfrm>
        </p:grpSpPr>
        <p:sp>
          <p:nvSpPr>
            <p:cNvPr id="70" name="Textbox" hidden="1">
              <a:extLst>
                <a:ext uri="{FF2B5EF4-FFF2-40B4-BE49-F238E27FC236}">
                  <a16:creationId xmlns:a16="http://schemas.microsoft.com/office/drawing/2014/main" id="{88A1278E-34E9-4CB9-B91C-37C5CDB86D4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009900" y="1634863"/>
              <a:ext cx="3177968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dirty="0">
                  <a:solidFill>
                    <a:schemeClr val="accent1"/>
                  </a:solidFill>
                </a:rPr>
                <a:t>&lt;TEXT&gt;</a:t>
              </a:r>
            </a:p>
          </p:txBody>
        </p:sp>
        <p:sp>
          <p:nvSpPr>
            <p:cNvPr id="71" name="Textbox" hidden="1">
              <a:extLst>
                <a:ext uri="{FF2B5EF4-FFF2-40B4-BE49-F238E27FC236}">
                  <a16:creationId xmlns:a16="http://schemas.microsoft.com/office/drawing/2014/main" id="{278C944F-E77F-4D35-A187-79562217A8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3107773" y="1634863"/>
              <a:ext cx="66198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N&gt;</a:t>
              </a:r>
            </a:p>
          </p:txBody>
        </p:sp>
        <p:sp>
          <p:nvSpPr>
            <p:cNvPr id="72" name="Textbox" hidden="1">
              <a:extLst>
                <a:ext uri="{FF2B5EF4-FFF2-40B4-BE49-F238E27FC236}">
                  <a16:creationId xmlns:a16="http://schemas.microsoft.com/office/drawing/2014/main" id="{B2052B66-F038-4DA9-8F74-6AAF7DA0FF3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895246" y="16348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3" name="Textbox" hidden="1">
              <a:extLst>
                <a:ext uri="{FF2B5EF4-FFF2-40B4-BE49-F238E27FC236}">
                  <a16:creationId xmlns:a16="http://schemas.microsoft.com/office/drawing/2014/main" id="{4019E097-FCBF-48BF-A837-3F813D10432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773462" y="16348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4" name="Textbox" hidden="1">
              <a:extLst>
                <a:ext uri="{FF2B5EF4-FFF2-40B4-BE49-F238E27FC236}">
                  <a16:creationId xmlns:a16="http://schemas.microsoft.com/office/drawing/2014/main" id="{632C0E86-FBA8-45BE-B3D4-9E84E531F46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286632" y="16348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5" name="Textbox" hidden="1">
              <a:extLst>
                <a:ext uri="{FF2B5EF4-FFF2-40B4-BE49-F238E27FC236}">
                  <a16:creationId xmlns:a16="http://schemas.microsoft.com/office/drawing/2014/main" id="{BD39684A-A8DF-407D-AA07-EBF1BB087CA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9120523" y="16348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dirty="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  <p:sp>
          <p:nvSpPr>
            <p:cNvPr id="77" name="Textbox" hidden="1">
              <a:extLst>
                <a:ext uri="{FF2B5EF4-FFF2-40B4-BE49-F238E27FC236}">
                  <a16:creationId xmlns:a16="http://schemas.microsoft.com/office/drawing/2014/main" id="{5C240F18-5366-41B6-B8AF-A0CCD2A444B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64567" y="1634863"/>
              <a:ext cx="804083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600" b="1" dirty="0">
                  <a:solidFill>
                    <a:schemeClr val="accent1"/>
                  </a:solidFill>
                </a:rPr>
                <a:t>Topic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8054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2D5542-9CBB-9343-8653-2EAFE8FF7F60}" type="datetimeFigureOut">
              <a:rPr lang="en-US" smtClean="0"/>
              <a:t>11/28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C6AB92-6BD6-FA44-869D-06760B5943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6152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07069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ontent with Caption">
    <p:bg>
      <p:bgPr>
        <a:solidFill>
          <a:schemeClr val="tx2"/>
        </a:solidFill>
        <a:effectLst/>
      </p:bgPr>
    </p:bg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hape 67"/>
          <p:cNvSpPr>
            <a:spLocks noGrp="1"/>
          </p:cNvSpPr>
          <p:nvPr>
            <p:ph type="pic" idx="2"/>
          </p:nvPr>
        </p:nvSpPr>
        <p:spPr>
          <a:xfrm>
            <a:off x="3220278" y="0"/>
            <a:ext cx="2875722" cy="3429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 dirty="0"/>
          </a:p>
        </p:txBody>
      </p:sp>
      <p:sp>
        <p:nvSpPr>
          <p:cNvPr id="68" name="Shape 68"/>
          <p:cNvSpPr>
            <a:spLocks noGrp="1"/>
          </p:cNvSpPr>
          <p:nvPr>
            <p:ph type="pic" idx="3"/>
          </p:nvPr>
        </p:nvSpPr>
        <p:spPr>
          <a:xfrm>
            <a:off x="6096000" y="0"/>
            <a:ext cx="2875722" cy="3429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 dirty="0"/>
          </a:p>
        </p:txBody>
      </p:sp>
      <p:sp>
        <p:nvSpPr>
          <p:cNvPr id="69" name="Shape 69"/>
          <p:cNvSpPr>
            <a:spLocks noGrp="1"/>
          </p:cNvSpPr>
          <p:nvPr>
            <p:ph type="pic" idx="4"/>
          </p:nvPr>
        </p:nvSpPr>
        <p:spPr>
          <a:xfrm>
            <a:off x="3220278" y="3429000"/>
            <a:ext cx="2875722" cy="3429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 dirty="0"/>
          </a:p>
        </p:txBody>
      </p:sp>
      <p:sp>
        <p:nvSpPr>
          <p:cNvPr id="70" name="Shape 70"/>
          <p:cNvSpPr>
            <a:spLocks noGrp="1"/>
          </p:cNvSpPr>
          <p:nvPr>
            <p:ph type="pic" idx="5"/>
          </p:nvPr>
        </p:nvSpPr>
        <p:spPr>
          <a:xfrm>
            <a:off x="6096000" y="3429000"/>
            <a:ext cx="2875722" cy="3429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892800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Slide">
    <p:bg>
      <p:bgPr>
        <a:solidFill>
          <a:schemeClr val="tx1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6653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6E95711-BBFB-F249-B280-8FB263BA62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93F295A-536C-A340-98A7-B23E8805EA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8349" y="1849871"/>
            <a:ext cx="10396536" cy="1101148"/>
          </a:xfrm>
          <a:prstGeom prst="rect">
            <a:avLst/>
          </a:prstGeom>
        </p:spPr>
        <p:txBody>
          <a:bodyPr lIns="0" tIns="0" rIns="0" bIns="0"/>
          <a:lstStyle>
            <a:lvl1pPr marL="0" indent="0" fontAlgn="t">
              <a:lnSpc>
                <a:spcPct val="70000"/>
              </a:lnSpc>
              <a:spcBef>
                <a:spcPts val="0"/>
              </a:spcBef>
              <a:buNone/>
              <a:defRPr sz="4800" b="1" i="0" cap="none" spc="0" baseline="0">
                <a:solidFill>
                  <a:schemeClr val="bg1"/>
                </a:solidFill>
                <a:latin typeface="Gilroy Bold" pitchFamily="2" charset="77"/>
              </a:defRPr>
            </a:lvl1pPr>
            <a:lvl2pPr>
              <a:defRPr>
                <a:latin typeface="Gilroy" pitchFamily="2" charset="77"/>
              </a:defRPr>
            </a:lvl2pPr>
            <a:lvl3pPr>
              <a:defRPr>
                <a:latin typeface="Gilroy" pitchFamily="2" charset="77"/>
              </a:defRPr>
            </a:lvl3pPr>
            <a:lvl4pPr>
              <a:defRPr>
                <a:latin typeface="Gilroy" pitchFamily="2" charset="77"/>
              </a:defRPr>
            </a:lvl4pPr>
            <a:lvl5pPr>
              <a:defRPr>
                <a:latin typeface="Gilroy" pitchFamily="2" charset="77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2B5A7B1-5828-8242-BE52-EC7E0BAE369B}"/>
              </a:ext>
            </a:extLst>
          </p:cNvPr>
          <p:cNvSpPr txBox="1"/>
          <p:nvPr userDrawn="1"/>
        </p:nvSpPr>
        <p:spPr>
          <a:xfrm>
            <a:off x="897733" y="-660400"/>
            <a:ext cx="4298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dirty="0">
                <a:solidFill>
                  <a:schemeClr val="tx1"/>
                </a:solidFill>
                <a:effectLst/>
                <a:latin typeface="Merriweather Sans" pitchFamily="2" charset="77"/>
              </a:rPr>
              <a:t>User notation: Large left text lower case only create a break in larger words where you can.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8DFDFB92-CFED-864E-9FB0-5F0233A13B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8349" y="3269673"/>
            <a:ext cx="10396536" cy="2214563"/>
          </a:xfrm>
          <a:prstGeom prst="rect">
            <a:avLst/>
          </a:prstGeom>
        </p:spPr>
        <p:txBody>
          <a:bodyPr lIns="0" tIns="0" rIns="0" bIns="0"/>
          <a:lstStyle>
            <a:lvl1pPr marL="0" indent="0" fontAlgn="t">
              <a:lnSpc>
                <a:spcPct val="150000"/>
              </a:lnSpc>
              <a:spcBef>
                <a:spcPts val="0"/>
              </a:spcBef>
              <a:buNone/>
              <a:defRPr sz="2700" b="0" i="0" cap="none" spc="0" baseline="0">
                <a:solidFill>
                  <a:schemeClr val="bg1"/>
                </a:solidFill>
                <a:latin typeface="Gilroy" pitchFamily="2" charset="77"/>
              </a:defRPr>
            </a:lvl1pPr>
            <a:lvl2pPr>
              <a:defRPr>
                <a:latin typeface="Gilroy" pitchFamily="2" charset="77"/>
              </a:defRPr>
            </a:lvl2pPr>
            <a:lvl3pPr>
              <a:defRPr>
                <a:latin typeface="Gilroy" pitchFamily="2" charset="77"/>
              </a:defRPr>
            </a:lvl3pPr>
            <a:lvl4pPr>
              <a:defRPr>
                <a:latin typeface="Gilroy" pitchFamily="2" charset="77"/>
              </a:defRPr>
            </a:lvl4pPr>
            <a:lvl5pPr>
              <a:defRPr>
                <a:latin typeface="Gilroy" pitchFamily="2" charset="77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2982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32">
          <p15:clr>
            <a:srgbClr val="FBAE40"/>
          </p15:clr>
        </p15:guide>
        <p15:guide id="2" pos="7680">
          <p15:clr>
            <a:srgbClr val="FBAE40"/>
          </p15:clr>
        </p15:guide>
        <p15:guide id="3" orient="horz" pos="4955">
          <p15:clr>
            <a:srgbClr val="FBAE40"/>
          </p15:clr>
        </p15:guide>
        <p15:guide id="4" pos="14257">
          <p15:clr>
            <a:srgbClr val="FBAE40"/>
          </p15:clr>
        </p15:guide>
        <p15:guide id="5" pos="1103">
          <p15:clr>
            <a:srgbClr val="FBAE40"/>
          </p15:clr>
        </p15:guide>
        <p15:guide id="6" pos="6546">
          <p15:clr>
            <a:srgbClr val="FBAE40"/>
          </p15:clr>
        </p15:guide>
        <p15:guide id="7" orient="horz" pos="5522">
          <p15:clr>
            <a:srgbClr val="FBAE40"/>
          </p15:clr>
        </p15:guide>
        <p15:guide id="8" orient="horz" pos="711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ext only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5485708-3EC1-1043-B310-C1EDF951309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29219EE-7CF9-6246-BA2A-801F078CB6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75507" y="1127993"/>
            <a:ext cx="10440988" cy="6842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 i="0">
                <a:solidFill>
                  <a:schemeClr val="tx1"/>
                </a:solidFill>
                <a:latin typeface="Gilroy Bold" pitchFamily="2" charset="77"/>
              </a:defRPr>
            </a:lvl1pPr>
            <a:lvl2pPr marL="228594" indent="0">
              <a:buNone/>
              <a:defRPr sz="4000" b="1" i="0">
                <a:latin typeface="Gilroy SemiBold" pitchFamily="2" charset="77"/>
              </a:defRPr>
            </a:lvl2pPr>
            <a:lvl3pPr marL="457189" indent="0">
              <a:buNone/>
              <a:defRPr sz="4000" b="1" i="0">
                <a:latin typeface="Gilroy SemiBold" pitchFamily="2" charset="77"/>
              </a:defRPr>
            </a:lvl3pPr>
            <a:lvl4pPr marL="685783" indent="0">
              <a:buNone/>
              <a:defRPr sz="4000" b="1" i="0">
                <a:latin typeface="Gilroy SemiBold" pitchFamily="2" charset="77"/>
              </a:defRPr>
            </a:lvl4pPr>
            <a:lvl5pPr marL="914377" indent="0">
              <a:buNone/>
              <a:defRPr sz="4000" b="1" i="0">
                <a:latin typeface="Gilroy SemiBold" pitchFamily="2" charset="77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1023D54-DB31-B24F-93CF-04AD6760DF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5507" y="2259013"/>
            <a:ext cx="10440987" cy="3383251"/>
          </a:xfrm>
          <a:prstGeom prst="rect">
            <a:avLst/>
          </a:prstGeom>
        </p:spPr>
        <p:txBody>
          <a:bodyPr tIns="216000"/>
          <a:lstStyle>
            <a:lvl1pPr marL="0" indent="0">
              <a:spcAft>
                <a:spcPts val="251"/>
              </a:spcAft>
              <a:buFont typeface="+mj-lt"/>
              <a:buNone/>
              <a:defRPr sz="1600" b="0" i="0">
                <a:solidFill>
                  <a:schemeClr val="tx1"/>
                </a:solidFill>
                <a:latin typeface="Gilroy" pitchFamily="2" charset="77"/>
              </a:defRPr>
            </a:lvl1pPr>
            <a:lvl2pPr>
              <a:defRPr b="0" i="0">
                <a:solidFill>
                  <a:srgbClr val="30033A"/>
                </a:solidFill>
                <a:latin typeface="Gilroy Medium" pitchFamily="2" charset="77"/>
              </a:defRPr>
            </a:lvl2pPr>
            <a:lvl3pPr>
              <a:defRPr b="0" i="0">
                <a:solidFill>
                  <a:srgbClr val="30033A"/>
                </a:solidFill>
                <a:latin typeface="Gilroy Medium" pitchFamily="2" charset="77"/>
              </a:defRPr>
            </a:lvl3pPr>
            <a:lvl4pPr>
              <a:defRPr b="0" i="0">
                <a:solidFill>
                  <a:srgbClr val="30033A"/>
                </a:solidFill>
                <a:latin typeface="Gilroy Medium" pitchFamily="2" charset="77"/>
              </a:defRPr>
            </a:lvl4pPr>
            <a:lvl5pPr>
              <a:defRPr b="0" i="0">
                <a:solidFill>
                  <a:srgbClr val="30033A"/>
                </a:solidFill>
                <a:latin typeface="Gilroy Medium" pitchFamily="2" charset="77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9327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Text only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5485708-3EC1-1043-B310-C1EDF95130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902036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29219EE-7CF9-6246-BA2A-801F078CB61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75507" y="955965"/>
            <a:ext cx="10440988" cy="6842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 i="0">
                <a:solidFill>
                  <a:schemeClr val="tx1"/>
                </a:solidFill>
                <a:latin typeface="Gilroy Bold" pitchFamily="2" charset="77"/>
              </a:defRPr>
            </a:lvl1pPr>
            <a:lvl2pPr marL="228594" indent="0">
              <a:buNone/>
              <a:defRPr sz="4000" b="1" i="0">
                <a:latin typeface="Gilroy SemiBold" pitchFamily="2" charset="77"/>
              </a:defRPr>
            </a:lvl2pPr>
            <a:lvl3pPr marL="457189" indent="0">
              <a:buNone/>
              <a:defRPr sz="4000" b="1" i="0">
                <a:latin typeface="Gilroy SemiBold" pitchFamily="2" charset="77"/>
              </a:defRPr>
            </a:lvl3pPr>
            <a:lvl4pPr marL="685783" indent="0">
              <a:buNone/>
              <a:defRPr sz="4000" b="1" i="0">
                <a:latin typeface="Gilroy SemiBold" pitchFamily="2" charset="77"/>
              </a:defRPr>
            </a:lvl4pPr>
            <a:lvl5pPr marL="914377" indent="0">
              <a:buNone/>
              <a:defRPr sz="4000" b="1" i="0">
                <a:latin typeface="Gilroy SemiBold" pitchFamily="2" charset="77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01023D54-DB31-B24F-93CF-04AD6760DF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5507" y="2259013"/>
            <a:ext cx="10440987" cy="3383251"/>
          </a:xfrm>
          <a:prstGeom prst="rect">
            <a:avLst/>
          </a:prstGeom>
        </p:spPr>
        <p:txBody>
          <a:bodyPr tIns="216000"/>
          <a:lstStyle>
            <a:lvl1pPr marL="0" indent="0">
              <a:spcAft>
                <a:spcPts val="251"/>
              </a:spcAft>
              <a:buFont typeface="+mj-lt"/>
              <a:buNone/>
              <a:defRPr sz="1600" b="0" i="0">
                <a:solidFill>
                  <a:schemeClr val="tx1"/>
                </a:solidFill>
                <a:latin typeface="Gilroy" pitchFamily="2" charset="77"/>
              </a:defRPr>
            </a:lvl1pPr>
            <a:lvl2pPr>
              <a:defRPr b="0" i="0">
                <a:solidFill>
                  <a:srgbClr val="30033A"/>
                </a:solidFill>
                <a:latin typeface="Gilroy Medium" pitchFamily="2" charset="77"/>
              </a:defRPr>
            </a:lvl2pPr>
            <a:lvl3pPr>
              <a:defRPr b="0" i="0">
                <a:solidFill>
                  <a:srgbClr val="30033A"/>
                </a:solidFill>
                <a:latin typeface="Gilroy Medium" pitchFamily="2" charset="77"/>
              </a:defRPr>
            </a:lvl3pPr>
            <a:lvl4pPr>
              <a:defRPr b="0" i="0">
                <a:solidFill>
                  <a:srgbClr val="30033A"/>
                </a:solidFill>
                <a:latin typeface="Gilroy Medium" pitchFamily="2" charset="77"/>
              </a:defRPr>
            </a:lvl4pPr>
            <a:lvl5pPr>
              <a:defRPr b="0" i="0">
                <a:solidFill>
                  <a:srgbClr val="30033A"/>
                </a:solidFill>
                <a:latin typeface="Gilroy Medium" pitchFamily="2" charset="77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7836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">
    <p:bg>
      <p:bgPr>
        <a:solidFill>
          <a:schemeClr val="bg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7480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972A1D-89A9-918B-76E5-785E85BF91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4189CE-27FB-D2C0-FB40-C0CB654776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DBFA52-735A-0215-D7D4-6B533E5363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48261-82A2-FE46-8D80-7883EE8754A0}" type="datetimeFigureOut">
              <a:rPr lang="en-GB" smtClean="0"/>
              <a:t>28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DE34FD-2E09-0A59-A9C1-D3D2E45310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F76B79-E96B-B639-3C71-C23034AF6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A73AC-AC4F-7E4E-9E59-723ED0091C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516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dsholder til billede 11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2"/>
          </a:solidFill>
        </p:spPr>
        <p:txBody>
          <a:bodyPr bIns="720000" anchor="ctr" anchorCtr="0"/>
          <a:lstStyle>
            <a:lvl1pPr marL="0" indent="0" algn="ctr">
              <a:buNone/>
              <a:defRPr sz="1600" baseline="0"/>
            </a:lvl1pPr>
          </a:lstStyle>
          <a:p>
            <a:r>
              <a:rPr lang="en-US" dirty="0"/>
              <a:t>Click on the icon to insert a pictu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4583ED1-3E83-4C4C-A7FD-656F41C890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0199" y="3228050"/>
            <a:ext cx="5621338" cy="2269671"/>
          </a:xfrm>
          <a:solidFill>
            <a:schemeClr val="accent1"/>
          </a:solidFill>
        </p:spPr>
        <p:txBody>
          <a:bodyPr lIns="360000" tIns="72000" rIns="180000" bIns="72000" anchor="ctr" anchorCtr="0"/>
          <a:lstStyle>
            <a:lvl1pPr algn="l"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  <a:endParaRPr lang="en-US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4A32AC6C-07F6-114A-B72A-CC61E96D282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200" y="6058800"/>
            <a:ext cx="5621338" cy="648000"/>
          </a:xfrm>
        </p:spPr>
        <p:txBody>
          <a:bodyPr tIns="90000" anchor="t" anchorCtr="0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here to add text</a:t>
            </a:r>
          </a:p>
        </p:txBody>
      </p:sp>
      <p:sp>
        <p:nvSpPr>
          <p:cNvPr id="25" name="Pladsholder til tekst 13">
            <a:extLst>
              <a:ext uri="{FF2B5EF4-FFF2-40B4-BE49-F238E27FC236}">
                <a16:creationId xmlns:a16="http://schemas.microsoft.com/office/drawing/2014/main" id="{173FFF39-01D5-0144-B4EA-316C8B9AD86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61200" y="6436800"/>
            <a:ext cx="1904400" cy="2772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r="3" b="2"/>
            </a:stretch>
          </a:blipFill>
        </p:spPr>
        <p:txBody>
          <a:bodyPr/>
          <a:lstStyle>
            <a:lvl1pPr algn="r">
              <a:defRPr sz="1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30453AFE-B473-485B-AC00-F76BBD8D66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fld id="{543854DF-DEBB-4435-9AB7-C1697F06922E}" type="datetime4">
              <a:rPr lang="en-US" smtClean="0"/>
              <a:t>November 28, 2023</a:t>
            </a:fld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F7C1188-A8DC-435A-85A6-78B97AD7EA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2323FEF6-1A81-44A2-87E5-922A470064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616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noFill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1441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DB1DA8-3B5F-D549-B6F1-B219434436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F8D254-8E62-3ABE-C0AB-8DBC2B6BCD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818949-2412-8DFC-E393-7E927D8C7C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48261-82A2-FE46-8D80-7883EE8754A0}" type="datetimeFigureOut">
              <a:rPr lang="en-GB" smtClean="0"/>
              <a:t>28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F58A80-C198-74F8-9239-A7EE9270B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23E38C-BA76-9BC2-39FD-DE3B7A062E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A73AC-AC4F-7E4E-9E59-723ED0091C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6873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7DB82C-CCC8-E3BC-11E9-F9E546BAA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206517-F4F9-0F1A-6CD9-DD6E11D950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BB3813-091A-B7CA-42E2-4BAAAE8961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48261-82A2-FE46-8D80-7883EE8754A0}" type="datetimeFigureOut">
              <a:rPr lang="en-GB" smtClean="0"/>
              <a:t>28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1B5EF4-37B9-291D-F123-BDBB21D94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636F0F-427B-4EBD-67BC-95CD673AB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A73AC-AC4F-7E4E-9E59-723ED0091C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17835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453A7-6211-B3B0-BC38-009E195D0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43449A-C4CD-E89A-D23C-718042D45D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846A73-EB6D-CD7D-7A89-66DF0C2B0D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DD42CF-5D40-FDED-EF04-D94C66C8B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48261-82A2-FE46-8D80-7883EE8754A0}" type="datetimeFigureOut">
              <a:rPr lang="en-GB" smtClean="0"/>
              <a:t>28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3A7721-56DA-6E15-EAD1-A2CE75BB56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3DD663-F1F6-7009-A6B6-5AFE74313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A73AC-AC4F-7E4E-9E59-723ED0091C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44066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112FB-39FD-BA00-38AE-B0C64356F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929039-4A29-9839-0793-5547F6943E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233BC8-FF25-2BBE-E0BB-238490BA69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5CD836-E411-8E37-0FF0-34D4C4D94F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F2C2F0-1BB2-057F-2744-6B0B4E7DC13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2593312-1972-BC87-2430-9B8E1AFA8E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48261-82A2-FE46-8D80-7883EE8754A0}" type="datetimeFigureOut">
              <a:rPr lang="en-GB" smtClean="0"/>
              <a:t>28/11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CCA37E-103B-D891-B486-160D2C1194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B59DB3-806D-4970-6CAF-2BA54ABCC9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A73AC-AC4F-7E4E-9E59-723ED0091C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36486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6A75C4-A6D1-3383-3C57-A161591DC2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1FED679-8B44-9461-8F82-A7F7182C57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48261-82A2-FE46-8D80-7883EE8754A0}" type="datetimeFigureOut">
              <a:rPr lang="en-GB" smtClean="0"/>
              <a:t>28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3846AF-B506-7794-E064-AF2435A549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EBC991-F5A2-1EDA-8175-05E017268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A73AC-AC4F-7E4E-9E59-723ED0091C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23889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D16A5D-5313-1102-AAFD-236392884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48261-82A2-FE46-8D80-7883EE8754A0}" type="datetimeFigureOut">
              <a:rPr lang="en-GB" smtClean="0"/>
              <a:t>28/11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F90DCF-0CEC-5A8E-9BB1-6D0A6FCB06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42F510-32E1-09DD-5827-E00EDD8A7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A73AC-AC4F-7E4E-9E59-723ED0091C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70354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0C9E93-F091-FA95-E63E-2D0D3B66A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BDF878-3C7D-5A76-BB3F-A3E56F02FE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CC748D-C494-1CE5-E475-7465652220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3B2170-C1DC-7C1E-ED79-2B74871700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48261-82A2-FE46-8D80-7883EE8754A0}" type="datetimeFigureOut">
              <a:rPr lang="en-GB" smtClean="0"/>
              <a:t>28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DB6497-028E-5886-C874-14F4FC82C4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28DD63-21B9-1821-200D-2EE0D238E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A73AC-AC4F-7E4E-9E59-723ED0091C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95961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8EC58-5812-F0BB-F3A6-C94D64B38E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36700B2-53CA-E217-DF3D-F88CC56F7E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2532FE-1861-175E-14C6-B6D5E76FAB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C8B62A-F9A4-5F38-F87D-73B7418E3A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48261-82A2-FE46-8D80-7883EE8754A0}" type="datetimeFigureOut">
              <a:rPr lang="en-GB" smtClean="0"/>
              <a:t>28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D9B521-D59E-7575-077F-0613AC084D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706DF9-761B-DDC7-7566-DF4D40CA0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A73AC-AC4F-7E4E-9E59-723ED0091C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96213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7E8035-C110-6090-1AA7-8C3997B37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EEE6B3E-897B-5185-2EE8-6088C7C4D4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08FAF2-58CD-D078-91E8-8BECC117B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48261-82A2-FE46-8D80-7883EE8754A0}" type="datetimeFigureOut">
              <a:rPr lang="en-GB" smtClean="0"/>
              <a:t>28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699056-5508-91DC-94B6-F7AFBDC1BF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055890-36A9-9E6D-0BBA-1C0DFAFBC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A73AC-AC4F-7E4E-9E59-723ED0091C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69365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56436A4-56B7-72B5-E619-B95D9B455EE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C602909-CD9E-2EBF-D829-90275D2433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C609813-876C-A800-8D9B-0581EF45DB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48261-82A2-FE46-8D80-7883EE8754A0}" type="datetimeFigureOut">
              <a:rPr lang="en-GB" smtClean="0"/>
              <a:t>28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84B6AD-43D3-324A-D642-8DF823D75C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BF046C-6245-2DC6-68FA-567F74C1E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A73AC-AC4F-7E4E-9E59-723ED0091C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62145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202" y="303213"/>
            <a:ext cx="11530598" cy="1001712"/>
          </a:xfrm>
        </p:spPr>
        <p:txBody>
          <a:bodyPr/>
          <a:lstStyle>
            <a:lvl1pPr>
              <a:defRPr sz="2800" baseline="0"/>
            </a:lvl1pPr>
          </a:lstStyle>
          <a:p>
            <a:r>
              <a:rPr lang="en-US" dirty="0"/>
              <a:t>Click to add agenda tit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5B00324-4B6F-49D2-BC6B-F7C89F5351B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330203" y="1592263"/>
            <a:ext cx="11530598" cy="44656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83069B-7385-444D-A0E1-B12E6807FAC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72455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lide Number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>
                <a:effectLst/>
              </a:defRPr>
            </a:pPr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05884535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rey backgrou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499B747F-5D8D-4322-B1D1-DD45A630E5A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B7E8F"/>
          </a:solidFill>
          <a:ln>
            <a:solidFill>
              <a:srgbClr val="7B7E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add agenda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0201" y="1600900"/>
            <a:ext cx="11530011" cy="4457000"/>
          </a:xfrm>
        </p:spPr>
        <p:txBody>
          <a:bodyPr/>
          <a:lstStyle>
            <a:lvl1pPr marL="0" indent="0">
              <a:buFont typeface="Noto Sans" panose="020B0502040504020204" pitchFamily="34" charset="0"/>
              <a:buChar char="​"/>
              <a:defRPr sz="2000">
                <a:solidFill>
                  <a:schemeClr val="tx1"/>
                </a:solidFill>
              </a:defRPr>
            </a:lvl1pPr>
            <a:lvl2pPr marL="180000">
              <a:buClrTx/>
              <a:defRPr>
                <a:solidFill>
                  <a:schemeClr val="tx1"/>
                </a:solidFill>
              </a:defRPr>
            </a:lvl2pPr>
            <a:lvl3pPr marL="360000">
              <a:buClrTx/>
              <a:defRPr>
                <a:solidFill>
                  <a:schemeClr val="tx1"/>
                </a:solidFill>
              </a:defRPr>
            </a:lvl3pPr>
            <a:lvl4pPr marL="0" indent="0">
              <a:buClrTx/>
              <a:defRPr>
                <a:solidFill>
                  <a:schemeClr val="tx1"/>
                </a:solidFill>
              </a:defRPr>
            </a:lvl4pPr>
            <a:lvl5pPr marL="0" indent="0">
              <a:buClrTx/>
              <a:defRPr>
                <a:solidFill>
                  <a:schemeClr val="tx1"/>
                </a:solidFill>
              </a:defRPr>
            </a:lvl5pPr>
            <a:lvl6pPr marL="0" indent="0">
              <a:buClrTx/>
              <a:defRPr>
                <a:solidFill>
                  <a:schemeClr val="tx1"/>
                </a:solidFill>
              </a:defRPr>
            </a:lvl6pPr>
            <a:lvl7pPr marL="0" indent="0">
              <a:buClrTx/>
              <a:defRPr>
                <a:solidFill>
                  <a:schemeClr val="tx1"/>
                </a:solidFill>
              </a:defRPr>
            </a:lvl7pPr>
            <a:lvl8pPr marL="0" indent="0">
              <a:buClrTx/>
              <a:defRPr>
                <a:solidFill>
                  <a:schemeClr val="tx1"/>
                </a:solidFill>
              </a:defRPr>
            </a:lvl8pPr>
            <a:lvl9pPr marL="0" indent="0">
              <a:buClrTx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 A</a:t>
            </a:r>
          </a:p>
          <a:p>
            <a:pPr lvl="2"/>
            <a:r>
              <a:rPr lang="en-US" dirty="0"/>
              <a:t>Third level B</a:t>
            </a:r>
          </a:p>
          <a:p>
            <a:pPr lvl="4"/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42175" y="6516730"/>
            <a:ext cx="103702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125FE569-BF4F-4C64-B78A-4F5A8B560AE5}" type="datetime4">
              <a:rPr lang="en-US" smtClean="0"/>
              <a:t>November 28, 2023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BF5687D-AFBB-4FB8-A85A-565CADC514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88577" y="6508800"/>
            <a:ext cx="1477819" cy="21636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DF75AB8-1862-D644-99AC-D2E76DC94093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691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296863"/>
            <a:ext cx="11530012" cy="1008061"/>
          </a:xfrm>
        </p:spPr>
        <p:txBody>
          <a:bodyPr/>
          <a:lstStyle>
            <a:lvl1pPr>
              <a:defRPr sz="2800">
                <a:solidFill>
                  <a:srgbClr val="515065"/>
                </a:solidFill>
              </a:defRPr>
            </a:lvl1pPr>
          </a:lstStyle>
          <a:p>
            <a:r>
              <a:rPr lang="en-US" dirty="0"/>
              <a:t>Click to add action title (full sentenc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0201" y="1592262"/>
            <a:ext cx="11530011" cy="446563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</a:lstStyle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  <a:p>
            <a:pPr lvl="3"/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C5D92770-EB54-48F5-A6C5-191A5FCB1D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F91A81C6-7549-41E7-805E-29060D2205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613" y="6164394"/>
            <a:ext cx="5622926" cy="365555"/>
          </a:xfrm>
        </p:spPr>
        <p:txBody>
          <a:bodyPr anchor="t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buNone/>
              <a:defRPr sz="1000"/>
            </a:lvl2pPr>
            <a:lvl3pPr marL="0" indent="0">
              <a:lnSpc>
                <a:spcPct val="110000"/>
              </a:lnSpc>
              <a:buNone/>
              <a:defRPr sz="1000"/>
            </a:lvl3pPr>
            <a:lvl4pPr marL="0" indent="0">
              <a:lnSpc>
                <a:spcPct val="110000"/>
              </a:lnSpc>
              <a:buNone/>
              <a:defRPr sz="1000"/>
            </a:lvl4pPr>
            <a:lvl5pPr marL="0" indent="0">
              <a:lnSpc>
                <a:spcPct val="110000"/>
              </a:lnSpc>
              <a:buNone/>
              <a:defRPr sz="1000"/>
            </a:lvl5pPr>
          </a:lstStyle>
          <a:p>
            <a:pPr lvl="0"/>
            <a:r>
              <a:rPr lang="en-US" dirty="0"/>
              <a:t>Click to add note text, use | to divide notes</a:t>
            </a:r>
          </a:p>
        </p:txBody>
      </p:sp>
    </p:spTree>
    <p:extLst>
      <p:ext uri="{BB962C8B-B14F-4D97-AF65-F5344CB8AC3E}">
        <p14:creationId xmlns:p14="http://schemas.microsoft.com/office/powerpoint/2010/main" val="2262904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296863"/>
            <a:ext cx="11530012" cy="1008062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action title (full sentenc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0201" y="1592262"/>
            <a:ext cx="5621337" cy="4465637"/>
          </a:xfrm>
        </p:spPr>
        <p:txBody>
          <a:bodyPr/>
          <a:lstStyle/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40462" y="1592262"/>
            <a:ext cx="5622925" cy="4465637"/>
          </a:xfrm>
        </p:spPr>
        <p:txBody>
          <a:bodyPr/>
          <a:lstStyle/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E6A2F52-247B-47DB-A1F5-0029E28773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F9297089-14EB-4254-B6EC-FF25870EE6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8613" y="6164394"/>
            <a:ext cx="5622926" cy="365555"/>
          </a:xfrm>
        </p:spPr>
        <p:txBody>
          <a:bodyPr anchor="t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buNone/>
              <a:defRPr sz="1000"/>
            </a:lvl2pPr>
            <a:lvl3pPr marL="0" indent="0">
              <a:lnSpc>
                <a:spcPct val="110000"/>
              </a:lnSpc>
              <a:buNone/>
              <a:defRPr sz="1000"/>
            </a:lvl3pPr>
            <a:lvl4pPr marL="0" indent="0">
              <a:lnSpc>
                <a:spcPct val="110000"/>
              </a:lnSpc>
              <a:buNone/>
              <a:defRPr sz="1000"/>
            </a:lvl4pPr>
            <a:lvl5pPr marL="0" indent="0">
              <a:lnSpc>
                <a:spcPct val="110000"/>
              </a:lnSpc>
              <a:buNone/>
              <a:defRPr sz="1000"/>
            </a:lvl5pPr>
          </a:lstStyle>
          <a:p>
            <a:pPr lvl="0"/>
            <a:r>
              <a:rPr lang="en-US" dirty="0"/>
              <a:t>Click to add note text, use | to divide notes</a:t>
            </a:r>
          </a:p>
        </p:txBody>
      </p:sp>
    </p:spTree>
    <p:extLst>
      <p:ext uri="{BB962C8B-B14F-4D97-AF65-F5344CB8AC3E}">
        <p14:creationId xmlns:p14="http://schemas.microsoft.com/office/powerpoint/2010/main" val="31765670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296863"/>
            <a:ext cx="11530012" cy="1008062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action title (full sentenc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0201" y="1592262"/>
            <a:ext cx="5621337" cy="4465637"/>
          </a:xfrm>
        </p:spPr>
        <p:txBody>
          <a:bodyPr/>
          <a:lstStyle/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  <a:p>
            <a:pPr lvl="3"/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CD30D28-CFCB-477B-AF4A-C0D9D1BC57B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40463" y="1592262"/>
            <a:ext cx="5619750" cy="4465638"/>
          </a:xfrm>
        </p:spPr>
        <p:txBody>
          <a:bodyPr bIns="72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Click on the icon to insert a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905CA0-BD8C-4F71-93A4-AE73293A561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D4EFE8C4-5D7B-4B07-86D1-88D5AF2C46C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3" y="6164394"/>
            <a:ext cx="5622926" cy="365555"/>
          </a:xfrm>
        </p:spPr>
        <p:txBody>
          <a:bodyPr anchor="t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buNone/>
              <a:defRPr sz="1000"/>
            </a:lvl2pPr>
            <a:lvl3pPr marL="0" indent="0">
              <a:lnSpc>
                <a:spcPct val="110000"/>
              </a:lnSpc>
              <a:buNone/>
              <a:defRPr sz="1000"/>
            </a:lvl3pPr>
            <a:lvl4pPr marL="0" indent="0">
              <a:lnSpc>
                <a:spcPct val="110000"/>
              </a:lnSpc>
              <a:buNone/>
              <a:defRPr sz="1000"/>
            </a:lvl4pPr>
            <a:lvl5pPr marL="0" indent="0">
              <a:lnSpc>
                <a:spcPct val="110000"/>
              </a:lnSpc>
              <a:buNone/>
              <a:defRPr sz="1000"/>
            </a:lvl5pPr>
          </a:lstStyle>
          <a:p>
            <a:pPr lvl="0"/>
            <a:r>
              <a:rPr lang="en-US" dirty="0"/>
              <a:t>Click to add note text, use | to divide notes</a:t>
            </a:r>
          </a:p>
        </p:txBody>
      </p:sp>
    </p:spTree>
    <p:extLst>
      <p:ext uri="{BB962C8B-B14F-4D97-AF65-F5344CB8AC3E}">
        <p14:creationId xmlns:p14="http://schemas.microsoft.com/office/powerpoint/2010/main" val="135381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0201" y="296863"/>
            <a:ext cx="11530012" cy="1008062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action title (full sentenc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238876" y="1592262"/>
            <a:ext cx="5621337" cy="4465637"/>
          </a:xfrm>
        </p:spPr>
        <p:txBody>
          <a:bodyPr/>
          <a:lstStyle/>
          <a:p>
            <a:r>
              <a:rPr lang="en-US" dirty="0"/>
              <a:t>Click to add text</a:t>
            </a:r>
          </a:p>
          <a:p>
            <a:pPr lvl="1"/>
            <a:r>
              <a:rPr lang="en-US" dirty="0"/>
              <a:t>Click to edit</a:t>
            </a:r>
          </a:p>
          <a:p>
            <a:pPr lvl="2"/>
            <a:r>
              <a:rPr lang="en-US" dirty="0"/>
              <a:t>Click to edit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CD30D28-CFCB-477B-AF4A-C0D9D1BC57B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0201" y="1592262"/>
            <a:ext cx="5619750" cy="4465638"/>
          </a:xfrm>
        </p:spPr>
        <p:txBody>
          <a:bodyPr bIns="72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US" dirty="0"/>
              <a:t>Click on the icon to insert a pictur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89E4FE0-75F4-488C-86AB-FA8581514DCE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6A015C6B-C3F9-48BF-9B43-4DC1DF661EF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8613" y="6164394"/>
            <a:ext cx="5622926" cy="365555"/>
          </a:xfrm>
        </p:spPr>
        <p:txBody>
          <a:bodyPr anchor="t" anchorCtr="0"/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  <a:lvl2pPr marL="0" indent="0">
              <a:lnSpc>
                <a:spcPct val="110000"/>
              </a:lnSpc>
              <a:buNone/>
              <a:defRPr sz="1000"/>
            </a:lvl2pPr>
            <a:lvl3pPr marL="0" indent="0">
              <a:lnSpc>
                <a:spcPct val="110000"/>
              </a:lnSpc>
              <a:buNone/>
              <a:defRPr sz="1000"/>
            </a:lvl3pPr>
            <a:lvl4pPr marL="0" indent="0">
              <a:lnSpc>
                <a:spcPct val="110000"/>
              </a:lnSpc>
              <a:buNone/>
              <a:defRPr sz="1000"/>
            </a:lvl4pPr>
            <a:lvl5pPr marL="0" indent="0">
              <a:lnSpc>
                <a:spcPct val="110000"/>
              </a:lnSpc>
              <a:buNone/>
              <a:defRPr sz="1000"/>
            </a:lvl5pPr>
          </a:lstStyle>
          <a:p>
            <a:pPr lvl="0"/>
            <a:r>
              <a:rPr lang="en-US" dirty="0"/>
              <a:t>Click to add note text, use | to divide notes</a:t>
            </a:r>
          </a:p>
        </p:txBody>
      </p:sp>
    </p:spTree>
    <p:extLst>
      <p:ext uri="{BB962C8B-B14F-4D97-AF65-F5344CB8AC3E}">
        <p14:creationId xmlns:p14="http://schemas.microsoft.com/office/powerpoint/2010/main" val="6799465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6775F7-08B3-462B-B182-D788E0DE6E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9" imgW="395" imgH="396" progId="TCLayout.ActiveDocument.1">
                  <p:embed/>
                </p:oleObj>
              </mc:Choice>
              <mc:Fallback>
                <p:oleObj name="think-cell Slide" r:id="rId29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46775F7-08B3-462B-B182-D788E0DE6E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A2AC0D6-1224-4D76-A154-25AE5D1B3A38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 err="1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Noto Sans" panose="020B0502040504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0200" y="296863"/>
            <a:ext cx="11528199" cy="1004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add a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0199" y="1597024"/>
            <a:ext cx="11530800" cy="44608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evel 1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4"/>
            <a:r>
              <a:rPr lang="en-US" dirty="0"/>
              <a:t>Level 5</a:t>
            </a:r>
          </a:p>
          <a:p>
            <a:pPr lvl="5"/>
            <a:r>
              <a:rPr lang="en-US" dirty="0"/>
              <a:t>Level 6</a:t>
            </a:r>
          </a:p>
          <a:p>
            <a:pPr lvl="6"/>
            <a:r>
              <a:rPr lang="en-US" dirty="0"/>
              <a:t>Level 7</a:t>
            </a:r>
          </a:p>
          <a:p>
            <a:pPr lvl="7"/>
            <a:r>
              <a:rPr lang="en-US" dirty="0"/>
              <a:t>Level 8</a:t>
            </a:r>
          </a:p>
          <a:p>
            <a:pPr lvl="8"/>
            <a:r>
              <a:rPr lang="en-US" dirty="0"/>
              <a:t>Level 9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4020473-A488-4427-BC00-16D9688002A3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8577" y="6508800"/>
            <a:ext cx="1477819" cy="21636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93BF2F1-D8DB-3E48-93C2-8B7204D42F69}"/>
              </a:ext>
            </a:extLst>
          </p:cNvPr>
          <p:cNvSpPr txBox="1"/>
          <p:nvPr userDrawn="1"/>
        </p:nvSpPr>
        <p:spPr>
          <a:xfrm>
            <a:off x="325604" y="6523199"/>
            <a:ext cx="38719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tx2"/>
                </a:solidFill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45D37B1E-C366-494F-A587-962AD9AABC8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B46FF480-48F6-4782-A91D-AAA6D17064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42175" y="6523200"/>
            <a:ext cx="1037025" cy="17667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solidFill>
                  <a:schemeClr val="tx2"/>
                </a:solidFill>
                <a:latin typeface="+mn-lt"/>
                <a:ea typeface="Noto Sans" panose="020B0502040504020204" pitchFamily="34" charset="0"/>
                <a:cs typeface="Noto Sans" panose="020B0502040504020204" pitchFamily="34" charset="0"/>
              </a:defRPr>
            </a:lvl1pPr>
          </a:lstStyle>
          <a:p>
            <a:fld id="{C68BA46D-C1BE-4752-9D7D-FD8F9DF28C12}" type="datetime4">
              <a:rPr lang="en-US" smtClean="0"/>
              <a:t>November 28, 2023</a:t>
            </a:fld>
            <a:endParaRPr lang="en-US" dirty="0"/>
          </a:p>
        </p:txBody>
      </p:sp>
      <p:sp>
        <p:nvSpPr>
          <p:cNvPr id="10" name="Internal [Sticker]" hidden="1">
            <a:extLst>
              <a:ext uri="{FF2B5EF4-FFF2-40B4-BE49-F238E27FC236}">
                <a16:creationId xmlns:a16="http://schemas.microsoft.com/office/drawing/2014/main" id="{457D40C3-9A80-445A-A2D2-C237999C966A}"/>
              </a:ext>
            </a:extLst>
          </p:cNvPr>
          <p:cNvSpPr/>
          <p:nvPr userDrawn="1"/>
        </p:nvSpPr>
        <p:spPr>
          <a:xfrm>
            <a:off x="10453054" y="39620"/>
            <a:ext cx="1654629" cy="269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INTERNAL</a:t>
            </a:r>
          </a:p>
        </p:txBody>
      </p:sp>
      <p:sp>
        <p:nvSpPr>
          <p:cNvPr id="15" name="Discussion [Sticker]" hidden="1">
            <a:extLst>
              <a:ext uri="{FF2B5EF4-FFF2-40B4-BE49-F238E27FC236}">
                <a16:creationId xmlns:a16="http://schemas.microsoft.com/office/drawing/2014/main" id="{D12F4F81-BD86-4590-BA4A-0264CF04327D}"/>
              </a:ext>
            </a:extLst>
          </p:cNvPr>
          <p:cNvSpPr/>
          <p:nvPr userDrawn="1"/>
        </p:nvSpPr>
        <p:spPr>
          <a:xfrm>
            <a:off x="10453054" y="39620"/>
            <a:ext cx="1654629" cy="269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DISCUSSION</a:t>
            </a:r>
          </a:p>
        </p:txBody>
      </p:sp>
      <p:sp>
        <p:nvSpPr>
          <p:cNvPr id="17" name="Draft [Sticker]" hidden="1">
            <a:extLst>
              <a:ext uri="{FF2B5EF4-FFF2-40B4-BE49-F238E27FC236}">
                <a16:creationId xmlns:a16="http://schemas.microsoft.com/office/drawing/2014/main" id="{0574421D-43C5-448F-B5A8-0AD50C2FA46D}"/>
              </a:ext>
            </a:extLst>
          </p:cNvPr>
          <p:cNvSpPr/>
          <p:nvPr userDrawn="1"/>
        </p:nvSpPr>
        <p:spPr>
          <a:xfrm>
            <a:off x="10453054" y="39620"/>
            <a:ext cx="1654629" cy="269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DRAFT</a:t>
            </a:r>
          </a:p>
        </p:txBody>
      </p:sp>
      <p:sp>
        <p:nvSpPr>
          <p:cNvPr id="18" name="Final [Sticker]" hidden="1">
            <a:extLst>
              <a:ext uri="{FF2B5EF4-FFF2-40B4-BE49-F238E27FC236}">
                <a16:creationId xmlns:a16="http://schemas.microsoft.com/office/drawing/2014/main" id="{9148D1E2-CB25-44A3-8D08-925C7AABD79B}"/>
              </a:ext>
            </a:extLst>
          </p:cNvPr>
          <p:cNvSpPr/>
          <p:nvPr userDrawn="1"/>
        </p:nvSpPr>
        <p:spPr>
          <a:xfrm>
            <a:off x="10453054" y="39620"/>
            <a:ext cx="1654629" cy="269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FINAL</a:t>
            </a:r>
          </a:p>
        </p:txBody>
      </p:sp>
      <p:sp>
        <p:nvSpPr>
          <p:cNvPr id="19" name="Backup [Sticker]" hidden="1">
            <a:extLst>
              <a:ext uri="{FF2B5EF4-FFF2-40B4-BE49-F238E27FC236}">
                <a16:creationId xmlns:a16="http://schemas.microsoft.com/office/drawing/2014/main" id="{D4BE820D-7801-4C09-B922-4BAC8FEE9FCD}"/>
              </a:ext>
            </a:extLst>
          </p:cNvPr>
          <p:cNvSpPr/>
          <p:nvPr userDrawn="1"/>
        </p:nvSpPr>
        <p:spPr>
          <a:xfrm>
            <a:off x="10453054" y="39620"/>
            <a:ext cx="1654629" cy="269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en-US" dirty="0">
                <a:solidFill>
                  <a:schemeClr val="accent3"/>
                </a:solidFill>
              </a:rPr>
              <a:t>BACKUP</a:t>
            </a:r>
          </a:p>
        </p:txBody>
      </p:sp>
    </p:spTree>
    <p:extLst>
      <p:ext uri="{BB962C8B-B14F-4D97-AF65-F5344CB8AC3E}">
        <p14:creationId xmlns:p14="http://schemas.microsoft.com/office/powerpoint/2010/main" val="1393179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0" kern="1200">
          <a:solidFill>
            <a:srgbClr val="515065"/>
          </a:solidFill>
          <a:latin typeface="+mj-lt"/>
          <a:ea typeface="Noto Sans" panose="020B0502040504020204" pitchFamily="34" charset="0"/>
          <a:cs typeface="Noto Sans" panose="020B0502040504020204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SzPct val="80000"/>
        <a:buFont typeface="Noto Sans" panose="020B0604020202020204" charset="0"/>
        <a:buChar char="▪"/>
        <a:defRPr sz="2000" kern="120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SzPct val="80000"/>
        <a:buFont typeface="Noto Sans" panose="020B0604020202020204" charset="0"/>
        <a:buChar char="–"/>
        <a:defRPr sz="1800" kern="1200" baseline="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SzPct val="80000"/>
        <a:buFont typeface="Noto Sans" panose="020B0604020202020204" charset="0"/>
        <a:buChar char="▫"/>
        <a:defRPr sz="1600" kern="120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3pPr>
      <a:lvl4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Noto Sans" panose="020B0604020202020204" charset="0"/>
        <a:buChar char="▪"/>
        <a:defRPr sz="2000" kern="120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4pPr>
      <a:lvl5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Noto Sans" panose="020B0604020202020204" charset="0"/>
        <a:buChar char="–"/>
        <a:defRPr sz="1800" kern="1200" baseline="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5pPr>
      <a:lvl6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Noto Sans" panose="020B0604020202020204" charset="0"/>
        <a:buChar char="▫"/>
        <a:defRPr sz="1600" kern="1200" baseline="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6pPr>
      <a:lvl7pPr marL="18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Noto Sans" panose="020B0604020202020204" charset="0"/>
        <a:buChar char="▪"/>
        <a:defRPr sz="2000" kern="120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7pPr>
      <a:lvl8pPr marL="36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Noto Sans" panose="020B0604020202020204" charset="0"/>
        <a:buChar char="–"/>
        <a:defRPr sz="1800" kern="120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8pPr>
      <a:lvl9pPr marL="540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Tx/>
        <a:buFont typeface="Noto Sans" panose="020B0604020202020204" charset="0"/>
        <a:buChar char="▫"/>
        <a:defRPr sz="1600" kern="1200">
          <a:solidFill>
            <a:schemeClr val="tx1"/>
          </a:solidFill>
          <a:latin typeface="+mn-lt"/>
          <a:ea typeface="Noto Sans" panose="020B0502040504020204" pitchFamily="34" charset="0"/>
          <a:cs typeface="Noto Sans" panose="020B0502040504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08">
          <p15:clr>
            <a:srgbClr val="F26B43"/>
          </p15:clr>
        </p15:guide>
        <p15:guide id="3" orient="horz" pos="187">
          <p15:clr>
            <a:srgbClr val="F26B43"/>
          </p15:clr>
        </p15:guide>
        <p15:guide id="4" orient="horz" pos="822">
          <p15:clr>
            <a:srgbClr val="F26B43"/>
          </p15:clr>
        </p15:guide>
        <p15:guide id="5" pos="3749">
          <p15:clr>
            <a:srgbClr val="F26B43"/>
          </p15:clr>
        </p15:guide>
        <p15:guide id="6" orient="horz" pos="1003">
          <p15:clr>
            <a:srgbClr val="F26B43"/>
          </p15:clr>
        </p15:guide>
        <p15:guide id="7" orient="horz" pos="3816">
          <p15:clr>
            <a:srgbClr val="F26B43"/>
          </p15:clr>
        </p15:guide>
        <p15:guide id="8" pos="3931">
          <p15:clr>
            <a:srgbClr val="F26B43"/>
          </p15:clr>
        </p15:guide>
        <p15:guide id="9" pos="7473">
          <p15:clr>
            <a:srgbClr val="F26B43"/>
          </p15:clr>
        </p15:guide>
        <p15:guide id="10" orient="horz" pos="422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4056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1" r:id="rId4"/>
  </p:sldLayoutIdLst>
  <p:txStyles>
    <p:titleStyle>
      <a:lvl1pPr algn="l" defTabSz="457189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4297" indent="-114297" algn="l" defTabSz="45718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indent="-114297" algn="l" defTabSz="45718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71486" indent="-114297" algn="l" defTabSz="45718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800080" indent="-114297" algn="l" defTabSz="45718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4" indent="-114297" algn="l" defTabSz="45718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257269" indent="-114297" algn="l" defTabSz="45718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485863" indent="-114297" algn="l" defTabSz="45718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714457" indent="-114297" algn="l" defTabSz="45718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943051" indent="-114297" algn="l" defTabSz="457189" rtl="0" eaLnBrk="1" latinLnBrk="0" hangingPunct="1">
        <a:lnSpc>
          <a:spcPct val="90000"/>
        </a:lnSpc>
        <a:spcBef>
          <a:spcPts val="251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57189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85783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142971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371566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600160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828754" algn="l" defTabSz="457189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9A78E68-6F24-9BDA-6512-8E50960B6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EFF230-A7BB-1FFE-1904-A8DB29D3A6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E2EE87-B924-B8C7-E30C-B20FD7BFB4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F48261-82A2-FE46-8D80-7883EE8754A0}" type="datetimeFigureOut">
              <a:rPr lang="en-GB" smtClean="0"/>
              <a:t>28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54C449-6399-72F0-56EE-8F695EDE08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C3330A-1E26-780F-9E64-7862C226F7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EA73AC-AC4F-7E4E-9E59-723ED0091CA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6962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  <p:sldLayoutId id="214748398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f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gif"/><Relationship Id="rId18" Type="http://schemas.openxmlformats.org/officeDocument/2006/relationships/image" Target="../media/image33.png"/><Relationship Id="rId3" Type="http://schemas.openxmlformats.org/officeDocument/2006/relationships/image" Target="../media/image18.png"/><Relationship Id="rId21" Type="http://schemas.openxmlformats.org/officeDocument/2006/relationships/image" Target="../media/image36.jpeg"/><Relationship Id="rId7" Type="http://schemas.openxmlformats.org/officeDocument/2006/relationships/image" Target="../media/image22.png"/><Relationship Id="rId12" Type="http://schemas.openxmlformats.org/officeDocument/2006/relationships/image" Target="../media/image27.jpeg"/><Relationship Id="rId17" Type="http://schemas.openxmlformats.org/officeDocument/2006/relationships/image" Target="../media/image32.jpeg"/><Relationship Id="rId2" Type="http://schemas.openxmlformats.org/officeDocument/2006/relationships/image" Target="../media/image17.jpeg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21.jpeg"/><Relationship Id="rId11" Type="http://schemas.openxmlformats.org/officeDocument/2006/relationships/image" Target="../media/image26.png"/><Relationship Id="rId5" Type="http://schemas.openxmlformats.org/officeDocument/2006/relationships/image" Target="../media/image20.jpeg"/><Relationship Id="rId15" Type="http://schemas.openxmlformats.org/officeDocument/2006/relationships/image" Target="../media/image30.jpe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tiff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6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10CBDAB3-2F44-9743-8D1F-D852E8FE4AF5}"/>
              </a:ext>
            </a:extLst>
          </p:cNvPr>
          <p:cNvGraphicFramePr>
            <a:graphicFrameLocks noGrp="1"/>
          </p:cNvGraphicFramePr>
          <p:nvPr/>
        </p:nvGraphicFramePr>
        <p:xfrm>
          <a:off x="657762" y="2656279"/>
          <a:ext cx="10876475" cy="54963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5295">
                  <a:extLst>
                    <a:ext uri="{9D8B030D-6E8A-4147-A177-3AD203B41FA5}">
                      <a16:colId xmlns:a16="http://schemas.microsoft.com/office/drawing/2014/main" val="2722063787"/>
                    </a:ext>
                  </a:extLst>
                </a:gridCol>
                <a:gridCol w="2175295">
                  <a:extLst>
                    <a:ext uri="{9D8B030D-6E8A-4147-A177-3AD203B41FA5}">
                      <a16:colId xmlns:a16="http://schemas.microsoft.com/office/drawing/2014/main" val="3048420399"/>
                    </a:ext>
                  </a:extLst>
                </a:gridCol>
                <a:gridCol w="2175295">
                  <a:extLst>
                    <a:ext uri="{9D8B030D-6E8A-4147-A177-3AD203B41FA5}">
                      <a16:colId xmlns:a16="http://schemas.microsoft.com/office/drawing/2014/main" val="3445698973"/>
                    </a:ext>
                  </a:extLst>
                </a:gridCol>
                <a:gridCol w="2175295">
                  <a:extLst>
                    <a:ext uri="{9D8B030D-6E8A-4147-A177-3AD203B41FA5}">
                      <a16:colId xmlns:a16="http://schemas.microsoft.com/office/drawing/2014/main" val="3517619524"/>
                    </a:ext>
                  </a:extLst>
                </a:gridCol>
                <a:gridCol w="2175295">
                  <a:extLst>
                    <a:ext uri="{9D8B030D-6E8A-4147-A177-3AD203B41FA5}">
                      <a16:colId xmlns:a16="http://schemas.microsoft.com/office/drawing/2014/main" val="2940634898"/>
                    </a:ext>
                  </a:extLst>
                </a:gridCol>
              </a:tblGrid>
              <a:tr h="800377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AFFORDAB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EVERYDAY VAL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PREMIUM QUALITY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HIGH END LUXU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META LUXU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815002"/>
                  </a:ext>
                </a:extLst>
              </a:tr>
              <a:tr h="1543792"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198784"/>
                  </a:ext>
                </a:extLst>
              </a:tr>
              <a:tr h="1050725"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6724107"/>
                  </a:ext>
                </a:extLst>
              </a:tr>
              <a:tr h="1050725"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583378"/>
                  </a:ext>
                </a:extLst>
              </a:tr>
              <a:tr h="1050725"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3241787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71C8E11-E9C9-4F41-A6D9-21A059277DEA}"/>
              </a:ext>
            </a:extLst>
          </p:cNvPr>
          <p:cNvSpPr txBox="1"/>
          <p:nvPr/>
        </p:nvSpPr>
        <p:spPr>
          <a:xfrm>
            <a:off x="530942" y="2109019"/>
            <a:ext cx="17165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VOLUMES 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8538E25-FF07-6442-B2B3-32129209B370}"/>
              </a:ext>
            </a:extLst>
          </p:cNvPr>
          <p:cNvSpPr txBox="1"/>
          <p:nvPr/>
        </p:nvSpPr>
        <p:spPr>
          <a:xfrm>
            <a:off x="10248695" y="2197983"/>
            <a:ext cx="13887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VALUE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BA62440-2CAB-E9B4-C6E3-561456FEF721}"/>
              </a:ext>
            </a:extLst>
          </p:cNvPr>
          <p:cNvSpPr txBox="1"/>
          <p:nvPr/>
        </p:nvSpPr>
        <p:spPr>
          <a:xfrm>
            <a:off x="5084664" y="585829"/>
            <a:ext cx="2059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ness Objectives</a:t>
            </a:r>
          </a:p>
        </p:txBody>
      </p:sp>
      <p:sp>
        <p:nvSpPr>
          <p:cNvPr id="3" name="Right Brace 2">
            <a:extLst>
              <a:ext uri="{FF2B5EF4-FFF2-40B4-BE49-F238E27FC236}">
                <a16:creationId xmlns:a16="http://schemas.microsoft.com/office/drawing/2014/main" id="{7673E59D-949A-FEE5-4D39-B392A976173E}"/>
              </a:ext>
            </a:extLst>
          </p:cNvPr>
          <p:cNvSpPr/>
          <p:nvPr/>
        </p:nvSpPr>
        <p:spPr>
          <a:xfrm rot="5400000">
            <a:off x="6019303" y="429185"/>
            <a:ext cx="190387" cy="159819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544DB9-C534-1B40-A207-CB252CF4E3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751" y="5907222"/>
            <a:ext cx="1152029" cy="73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25212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10CBDAB3-2F44-9743-8D1F-D852E8FE4AF5}"/>
              </a:ext>
            </a:extLst>
          </p:cNvPr>
          <p:cNvGraphicFramePr>
            <a:graphicFrameLocks noGrp="1"/>
          </p:cNvGraphicFramePr>
          <p:nvPr/>
        </p:nvGraphicFramePr>
        <p:xfrm>
          <a:off x="657762" y="90060"/>
          <a:ext cx="10876475" cy="54963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5295">
                  <a:extLst>
                    <a:ext uri="{9D8B030D-6E8A-4147-A177-3AD203B41FA5}">
                      <a16:colId xmlns:a16="http://schemas.microsoft.com/office/drawing/2014/main" val="2722063787"/>
                    </a:ext>
                  </a:extLst>
                </a:gridCol>
                <a:gridCol w="2175295">
                  <a:extLst>
                    <a:ext uri="{9D8B030D-6E8A-4147-A177-3AD203B41FA5}">
                      <a16:colId xmlns:a16="http://schemas.microsoft.com/office/drawing/2014/main" val="3048420399"/>
                    </a:ext>
                  </a:extLst>
                </a:gridCol>
                <a:gridCol w="2175295">
                  <a:extLst>
                    <a:ext uri="{9D8B030D-6E8A-4147-A177-3AD203B41FA5}">
                      <a16:colId xmlns:a16="http://schemas.microsoft.com/office/drawing/2014/main" val="3445698973"/>
                    </a:ext>
                  </a:extLst>
                </a:gridCol>
                <a:gridCol w="2175295">
                  <a:extLst>
                    <a:ext uri="{9D8B030D-6E8A-4147-A177-3AD203B41FA5}">
                      <a16:colId xmlns:a16="http://schemas.microsoft.com/office/drawing/2014/main" val="3517619524"/>
                    </a:ext>
                  </a:extLst>
                </a:gridCol>
                <a:gridCol w="2175295">
                  <a:extLst>
                    <a:ext uri="{9D8B030D-6E8A-4147-A177-3AD203B41FA5}">
                      <a16:colId xmlns:a16="http://schemas.microsoft.com/office/drawing/2014/main" val="2940634898"/>
                    </a:ext>
                  </a:extLst>
                </a:gridCol>
              </a:tblGrid>
              <a:tr h="800377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AFFORDABL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EVERYDAY VAL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PREMIUM QUALITY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HIGH END LUXU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META LUXU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815002"/>
                  </a:ext>
                </a:extLst>
              </a:tr>
              <a:tr h="1543792"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198784"/>
                  </a:ext>
                </a:extLst>
              </a:tr>
              <a:tr h="1050725"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6724107"/>
                  </a:ext>
                </a:extLst>
              </a:tr>
              <a:tr h="1050725"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583378"/>
                  </a:ext>
                </a:extLst>
              </a:tr>
              <a:tr h="1050725"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3241787"/>
                  </a:ext>
                </a:extLst>
              </a:tr>
            </a:tbl>
          </a:graphicData>
        </a:graphic>
      </p:graphicFrame>
      <p:pic>
        <p:nvPicPr>
          <p:cNvPr id="1026" name="Picture 2" descr="Nescafe Classic Coffee 200g | each | Unit of Measure | Pick n Pay Online  Shopping">
            <a:extLst>
              <a:ext uri="{FF2B5EF4-FFF2-40B4-BE49-F238E27FC236}">
                <a16:creationId xmlns:a16="http://schemas.microsoft.com/office/drawing/2014/main" id="{E3BB44D1-25F8-4144-811C-A3237D98B2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6231" y="974090"/>
            <a:ext cx="1406236" cy="1406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B795FC8-2A87-C640-AE8D-55B6365AF065}"/>
              </a:ext>
            </a:extLst>
          </p:cNvPr>
          <p:cNvSpPr/>
          <p:nvPr/>
        </p:nvSpPr>
        <p:spPr>
          <a:xfrm>
            <a:off x="643677" y="974090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CBD57D-BB05-D74A-8119-9C0A153F0459}"/>
              </a:ext>
            </a:extLst>
          </p:cNvPr>
          <p:cNvSpPr/>
          <p:nvPr/>
        </p:nvSpPr>
        <p:spPr>
          <a:xfrm>
            <a:off x="2843416" y="974090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E483B6-4319-7640-BAE2-04D04A8EDF4B}"/>
              </a:ext>
            </a:extLst>
          </p:cNvPr>
          <p:cNvSpPr/>
          <p:nvPr/>
        </p:nvSpPr>
        <p:spPr>
          <a:xfrm>
            <a:off x="5043155" y="974090"/>
            <a:ext cx="207125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86FD4A-263E-3F43-A3BD-1E2ED310E84F}"/>
              </a:ext>
            </a:extLst>
          </p:cNvPr>
          <p:cNvSpPr/>
          <p:nvPr/>
        </p:nvSpPr>
        <p:spPr>
          <a:xfrm>
            <a:off x="7164547" y="974090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31D58A-E0D4-2344-AA42-082311025EBB}"/>
              </a:ext>
            </a:extLst>
          </p:cNvPr>
          <p:cNvSpPr/>
          <p:nvPr/>
        </p:nvSpPr>
        <p:spPr>
          <a:xfrm>
            <a:off x="9364286" y="974090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060BBF-3CD6-AF4A-AC93-0E4913EB7F9F}"/>
              </a:ext>
            </a:extLst>
          </p:cNvPr>
          <p:cNvSpPr/>
          <p:nvPr/>
        </p:nvSpPr>
        <p:spPr>
          <a:xfrm>
            <a:off x="647801" y="2436734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A551AE7-B7DF-1D40-AF0D-9937B374CC5A}"/>
              </a:ext>
            </a:extLst>
          </p:cNvPr>
          <p:cNvSpPr/>
          <p:nvPr/>
        </p:nvSpPr>
        <p:spPr>
          <a:xfrm>
            <a:off x="2847540" y="2436734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20A39-F7C0-E742-BF11-8BE7EA6147DA}"/>
              </a:ext>
            </a:extLst>
          </p:cNvPr>
          <p:cNvSpPr/>
          <p:nvPr/>
        </p:nvSpPr>
        <p:spPr>
          <a:xfrm>
            <a:off x="5047279" y="2436734"/>
            <a:ext cx="207125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4E2C53C-697F-4742-A273-CF87FFF2BA50}"/>
              </a:ext>
            </a:extLst>
          </p:cNvPr>
          <p:cNvSpPr/>
          <p:nvPr/>
        </p:nvSpPr>
        <p:spPr>
          <a:xfrm>
            <a:off x="7168671" y="2436734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5546C3C-E394-9A4B-9E36-B0DC5DFB3EC4}"/>
              </a:ext>
            </a:extLst>
          </p:cNvPr>
          <p:cNvSpPr/>
          <p:nvPr/>
        </p:nvSpPr>
        <p:spPr>
          <a:xfrm>
            <a:off x="9368410" y="2436734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480C539-2E84-5448-864F-98230A635164}"/>
              </a:ext>
            </a:extLst>
          </p:cNvPr>
          <p:cNvSpPr/>
          <p:nvPr/>
        </p:nvSpPr>
        <p:spPr>
          <a:xfrm>
            <a:off x="643677" y="3899378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6AAA4C9-D509-2941-8EC5-0BB2C95B5B49}"/>
              </a:ext>
            </a:extLst>
          </p:cNvPr>
          <p:cNvSpPr/>
          <p:nvPr/>
        </p:nvSpPr>
        <p:spPr>
          <a:xfrm>
            <a:off x="2843416" y="3899378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DBFC086-589E-484C-A405-63607328978F}"/>
              </a:ext>
            </a:extLst>
          </p:cNvPr>
          <p:cNvSpPr/>
          <p:nvPr/>
        </p:nvSpPr>
        <p:spPr>
          <a:xfrm>
            <a:off x="5043155" y="3899378"/>
            <a:ext cx="207125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D8B4173-0456-0A41-B212-8C29A3560F12}"/>
              </a:ext>
            </a:extLst>
          </p:cNvPr>
          <p:cNvSpPr/>
          <p:nvPr/>
        </p:nvSpPr>
        <p:spPr>
          <a:xfrm>
            <a:off x="7164547" y="3899378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D63F219-A08D-1946-82E7-B0DF3CAB8C7D}"/>
              </a:ext>
            </a:extLst>
          </p:cNvPr>
          <p:cNvSpPr/>
          <p:nvPr/>
        </p:nvSpPr>
        <p:spPr>
          <a:xfrm>
            <a:off x="9364286" y="3899378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CBB809-015F-5446-BED6-7FB8D79A2F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9883" y="1126985"/>
            <a:ext cx="636917" cy="1145226"/>
          </a:xfrm>
          <a:prstGeom prst="rect">
            <a:avLst/>
          </a:prstGeom>
        </p:spPr>
      </p:pic>
      <p:pic>
        <p:nvPicPr>
          <p:cNvPr id="1028" name="Picture 4" descr="Nespresso – Coffee Machines and Accessories – V&amp;A Waterfront">
            <a:extLst>
              <a:ext uri="{FF2B5EF4-FFF2-40B4-BE49-F238E27FC236}">
                <a16:creationId xmlns:a16="http://schemas.microsoft.com/office/drawing/2014/main" id="{8B526F56-3346-4E47-A87E-DFAEF354DB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3408" y="1224148"/>
            <a:ext cx="1434142" cy="950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icoffy - good old everyday coffee :-) | South african tea, South african  recipes, Coffee label">
            <a:extLst>
              <a:ext uri="{FF2B5EF4-FFF2-40B4-BE49-F238E27FC236}">
                <a16:creationId xmlns:a16="http://schemas.microsoft.com/office/drawing/2014/main" id="{90D5DF64-A8BD-B746-A06B-64D75539AE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4591" y="1123851"/>
            <a:ext cx="830036" cy="1106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The most expensive coffee in the world – All details about Kopi Luwak">
            <a:extLst>
              <a:ext uri="{FF2B5EF4-FFF2-40B4-BE49-F238E27FC236}">
                <a16:creationId xmlns:a16="http://schemas.microsoft.com/office/drawing/2014/main" id="{3BB33D89-B47D-594E-B580-DE808E4CC9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9248" y="996479"/>
            <a:ext cx="1234088" cy="1234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Toyota South Africa">
            <a:extLst>
              <a:ext uri="{FF2B5EF4-FFF2-40B4-BE49-F238E27FC236}">
                <a16:creationId xmlns:a16="http://schemas.microsoft.com/office/drawing/2014/main" id="{3C861EEE-2F63-8945-9443-B505B28FF2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1651" y="2669797"/>
            <a:ext cx="1475394" cy="877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Tata Logos">
            <a:extLst>
              <a:ext uri="{FF2B5EF4-FFF2-40B4-BE49-F238E27FC236}">
                <a16:creationId xmlns:a16="http://schemas.microsoft.com/office/drawing/2014/main" id="{C2C5DAFC-111A-A34D-90FC-64040DF1B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864" y="2601751"/>
            <a:ext cx="1783489" cy="998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Lexus logo - Motorplus">
            <a:extLst>
              <a:ext uri="{FF2B5EF4-FFF2-40B4-BE49-F238E27FC236}">
                <a16:creationId xmlns:a16="http://schemas.microsoft.com/office/drawing/2014/main" id="{309C5BBF-11CD-0245-B0B8-1C9DFD9B3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1211" y="2794848"/>
            <a:ext cx="915142" cy="915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Range Rover | Brands of the World™ | Download vector logos and logotypes">
            <a:extLst>
              <a:ext uri="{FF2B5EF4-FFF2-40B4-BE49-F238E27FC236}">
                <a16:creationId xmlns:a16="http://schemas.microsoft.com/office/drawing/2014/main" id="{2414F17D-C45E-1A42-87F0-5480B9211D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2466" y="2601751"/>
            <a:ext cx="1210294" cy="1210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Lamborghini - Wikipedia">
            <a:extLst>
              <a:ext uri="{FF2B5EF4-FFF2-40B4-BE49-F238E27FC236}">
                <a16:creationId xmlns:a16="http://schemas.microsoft.com/office/drawing/2014/main" id="{A4E6668A-2454-F44E-9D55-755451D13D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5336" y="2761922"/>
            <a:ext cx="809628" cy="926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smeg logo | Junk Mail Blog">
            <a:extLst>
              <a:ext uri="{FF2B5EF4-FFF2-40B4-BE49-F238E27FC236}">
                <a16:creationId xmlns:a16="http://schemas.microsoft.com/office/drawing/2014/main" id="{A488BBF3-FD6B-3E4F-BFB4-0A99C7D0D7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3781" y="4322048"/>
            <a:ext cx="1760660" cy="560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Sunbeam | Brands of the World™ | Download vector logos and logotypes">
            <a:extLst>
              <a:ext uri="{FF2B5EF4-FFF2-40B4-BE49-F238E27FC236}">
                <a16:creationId xmlns:a16="http://schemas.microsoft.com/office/drawing/2014/main" id="{18FF3859-B985-924A-B903-40EB36C1C5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53" b="23388"/>
          <a:stretch/>
        </p:blipFill>
        <p:spPr bwMode="auto">
          <a:xfrm>
            <a:off x="994467" y="4224789"/>
            <a:ext cx="1470282" cy="771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boardmans-logo | Carissa M. Nel | Carissa M. Nel">
            <a:extLst>
              <a:ext uri="{FF2B5EF4-FFF2-40B4-BE49-F238E27FC236}">
                <a16:creationId xmlns:a16="http://schemas.microsoft.com/office/drawing/2014/main" id="{AEB43CCD-228F-BA44-88DB-2CAFE5323C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1" t="25585" r="5217" b="18238"/>
          <a:stretch/>
        </p:blipFill>
        <p:spPr bwMode="auto">
          <a:xfrm>
            <a:off x="3071498" y="4224789"/>
            <a:ext cx="1624421" cy="830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 descr="Russell hobbs Logos">
            <a:extLst>
              <a:ext uri="{FF2B5EF4-FFF2-40B4-BE49-F238E27FC236}">
                <a16:creationId xmlns:a16="http://schemas.microsoft.com/office/drawing/2014/main" id="{514DFB3D-CCAB-3A48-B1E1-5CE7DE086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2526" y="4194981"/>
            <a:ext cx="1412857" cy="858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>
            <a:extLst>
              <a:ext uri="{FF2B5EF4-FFF2-40B4-BE49-F238E27FC236}">
                <a16:creationId xmlns:a16="http://schemas.microsoft.com/office/drawing/2014/main" id="{C8860D0B-67CF-4F4B-A649-B462992C9D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8061" y="4194981"/>
            <a:ext cx="1370412" cy="761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D1649FDE-90A3-A549-9E82-8DF38E6BE1C1}"/>
              </a:ext>
            </a:extLst>
          </p:cNvPr>
          <p:cNvSpPr/>
          <p:nvPr/>
        </p:nvSpPr>
        <p:spPr>
          <a:xfrm>
            <a:off x="643677" y="5363276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2A219C6-4880-0B44-B749-0F2BEA326E3D}"/>
              </a:ext>
            </a:extLst>
          </p:cNvPr>
          <p:cNvSpPr/>
          <p:nvPr/>
        </p:nvSpPr>
        <p:spPr>
          <a:xfrm>
            <a:off x="2843416" y="5363276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2E92063-B043-5C40-A04B-B4D9F849B30F}"/>
              </a:ext>
            </a:extLst>
          </p:cNvPr>
          <p:cNvSpPr/>
          <p:nvPr/>
        </p:nvSpPr>
        <p:spPr>
          <a:xfrm>
            <a:off x="5043155" y="5363276"/>
            <a:ext cx="207125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775E827-1CD4-494E-9625-E8C56E579FF6}"/>
              </a:ext>
            </a:extLst>
          </p:cNvPr>
          <p:cNvSpPr/>
          <p:nvPr/>
        </p:nvSpPr>
        <p:spPr>
          <a:xfrm>
            <a:off x="7164547" y="5363276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1823B44-F746-A64D-B445-687B924C291F}"/>
              </a:ext>
            </a:extLst>
          </p:cNvPr>
          <p:cNvSpPr/>
          <p:nvPr/>
        </p:nvSpPr>
        <p:spPr>
          <a:xfrm>
            <a:off x="9364286" y="5363276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pic>
        <p:nvPicPr>
          <p:cNvPr id="15362" name="Picture 2" descr="Woolies Brands Free From Gluten Spiced Cranberry Bread 320 g">
            <a:extLst>
              <a:ext uri="{FF2B5EF4-FFF2-40B4-BE49-F238E27FC236}">
                <a16:creationId xmlns:a16="http://schemas.microsoft.com/office/drawing/2014/main" id="{733A3E6D-CEFF-3240-83B8-F524EF7C4A2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00" t="35362" r="7968" b="31613"/>
          <a:stretch/>
        </p:blipFill>
        <p:spPr bwMode="auto">
          <a:xfrm>
            <a:off x="7347022" y="5633852"/>
            <a:ext cx="1914177" cy="754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 descr="SASKO South Africa (@SaskoSA) | Twitter">
            <a:extLst>
              <a:ext uri="{FF2B5EF4-FFF2-40B4-BE49-F238E27FC236}">
                <a16:creationId xmlns:a16="http://schemas.microsoft.com/office/drawing/2014/main" id="{84203AFB-9B27-4D48-825C-819FB8DC3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608" y="5572394"/>
            <a:ext cx="988000" cy="9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6" name="Picture 6" descr="Welcome to Albany | Albany">
            <a:extLst>
              <a:ext uri="{FF2B5EF4-FFF2-40B4-BE49-F238E27FC236}">
                <a16:creationId xmlns:a16="http://schemas.microsoft.com/office/drawing/2014/main" id="{59899057-4314-2245-B4AE-E77AABCC54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131" y="5443250"/>
            <a:ext cx="1266097" cy="1117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8" name="Picture 8" descr="FUTURELIFE - Home | Facebook">
            <a:extLst>
              <a:ext uri="{FF2B5EF4-FFF2-40B4-BE49-F238E27FC236}">
                <a16:creationId xmlns:a16="http://schemas.microsoft.com/office/drawing/2014/main" id="{9996C26C-91E8-9244-93BC-1657B6B727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4583" y="5579201"/>
            <a:ext cx="988397" cy="9883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70" name="Picture 10" descr="French Bread Recipe | Small Loaf | One Dish Kitchen">
            <a:extLst>
              <a:ext uri="{FF2B5EF4-FFF2-40B4-BE49-F238E27FC236}">
                <a16:creationId xmlns:a16="http://schemas.microsoft.com/office/drawing/2014/main" id="{4E8072E1-2325-B848-8EA9-FF7A6A3BC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7287" y="5454597"/>
            <a:ext cx="865862" cy="1223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0364207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10CBDAB3-2F44-9743-8D1F-D852E8FE4A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4576062"/>
              </p:ext>
            </p:extLst>
          </p:nvPr>
        </p:nvGraphicFramePr>
        <p:xfrm>
          <a:off x="657762" y="901295"/>
          <a:ext cx="10876475" cy="54963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5295">
                  <a:extLst>
                    <a:ext uri="{9D8B030D-6E8A-4147-A177-3AD203B41FA5}">
                      <a16:colId xmlns:a16="http://schemas.microsoft.com/office/drawing/2014/main" val="2722063787"/>
                    </a:ext>
                  </a:extLst>
                </a:gridCol>
                <a:gridCol w="2175295">
                  <a:extLst>
                    <a:ext uri="{9D8B030D-6E8A-4147-A177-3AD203B41FA5}">
                      <a16:colId xmlns:a16="http://schemas.microsoft.com/office/drawing/2014/main" val="3048420399"/>
                    </a:ext>
                  </a:extLst>
                </a:gridCol>
                <a:gridCol w="2175295">
                  <a:extLst>
                    <a:ext uri="{9D8B030D-6E8A-4147-A177-3AD203B41FA5}">
                      <a16:colId xmlns:a16="http://schemas.microsoft.com/office/drawing/2014/main" val="3445698973"/>
                    </a:ext>
                  </a:extLst>
                </a:gridCol>
                <a:gridCol w="2175295">
                  <a:extLst>
                    <a:ext uri="{9D8B030D-6E8A-4147-A177-3AD203B41FA5}">
                      <a16:colId xmlns:a16="http://schemas.microsoft.com/office/drawing/2014/main" val="3517619524"/>
                    </a:ext>
                  </a:extLst>
                </a:gridCol>
                <a:gridCol w="2175295">
                  <a:extLst>
                    <a:ext uri="{9D8B030D-6E8A-4147-A177-3AD203B41FA5}">
                      <a16:colId xmlns:a16="http://schemas.microsoft.com/office/drawing/2014/main" val="2940634898"/>
                    </a:ext>
                  </a:extLst>
                </a:gridCol>
              </a:tblGrid>
              <a:tr h="800377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AFFORDAB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EVERYDAY VALU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PREMIUM QUALITY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HIGH END LUXU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META LUXUR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815002"/>
                  </a:ext>
                </a:extLst>
              </a:tr>
              <a:tr h="1543792"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198784"/>
                  </a:ext>
                </a:extLst>
              </a:tr>
              <a:tr h="1050725"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6724107"/>
                  </a:ext>
                </a:extLst>
              </a:tr>
              <a:tr h="1050725"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583378"/>
                  </a:ext>
                </a:extLst>
              </a:tr>
              <a:tr h="1050725"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3241787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5B795FC8-2A87-C640-AE8D-55B6365AF065}"/>
              </a:ext>
            </a:extLst>
          </p:cNvPr>
          <p:cNvSpPr/>
          <p:nvPr/>
        </p:nvSpPr>
        <p:spPr>
          <a:xfrm>
            <a:off x="657762" y="1675582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CBD57D-BB05-D74A-8119-9C0A153F0459}"/>
              </a:ext>
            </a:extLst>
          </p:cNvPr>
          <p:cNvSpPr/>
          <p:nvPr/>
        </p:nvSpPr>
        <p:spPr>
          <a:xfrm>
            <a:off x="2857501" y="1675582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E483B6-4319-7640-BAE2-04D04A8EDF4B}"/>
              </a:ext>
            </a:extLst>
          </p:cNvPr>
          <p:cNvSpPr/>
          <p:nvPr/>
        </p:nvSpPr>
        <p:spPr>
          <a:xfrm>
            <a:off x="5057240" y="1675582"/>
            <a:ext cx="207125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86FD4A-263E-3F43-A3BD-1E2ED310E84F}"/>
              </a:ext>
            </a:extLst>
          </p:cNvPr>
          <p:cNvSpPr/>
          <p:nvPr/>
        </p:nvSpPr>
        <p:spPr>
          <a:xfrm>
            <a:off x="7178632" y="1675582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031D58A-E0D4-2344-AA42-082311025EBB}"/>
              </a:ext>
            </a:extLst>
          </p:cNvPr>
          <p:cNvSpPr/>
          <p:nvPr/>
        </p:nvSpPr>
        <p:spPr>
          <a:xfrm>
            <a:off x="9378371" y="1675582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060BBF-3CD6-AF4A-AC93-0E4913EB7F9F}"/>
              </a:ext>
            </a:extLst>
          </p:cNvPr>
          <p:cNvSpPr/>
          <p:nvPr/>
        </p:nvSpPr>
        <p:spPr>
          <a:xfrm>
            <a:off x="661886" y="3138226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A551AE7-B7DF-1D40-AF0D-9937B374CC5A}"/>
              </a:ext>
            </a:extLst>
          </p:cNvPr>
          <p:cNvSpPr/>
          <p:nvPr/>
        </p:nvSpPr>
        <p:spPr>
          <a:xfrm>
            <a:off x="2861625" y="3138226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7920A39-F7C0-E742-BF11-8BE7EA6147DA}"/>
              </a:ext>
            </a:extLst>
          </p:cNvPr>
          <p:cNvSpPr/>
          <p:nvPr/>
        </p:nvSpPr>
        <p:spPr>
          <a:xfrm>
            <a:off x="5061364" y="3138226"/>
            <a:ext cx="207125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4E2C53C-697F-4742-A273-CF87FFF2BA50}"/>
              </a:ext>
            </a:extLst>
          </p:cNvPr>
          <p:cNvSpPr/>
          <p:nvPr/>
        </p:nvSpPr>
        <p:spPr>
          <a:xfrm>
            <a:off x="7182756" y="3138226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5546C3C-E394-9A4B-9E36-B0DC5DFB3EC4}"/>
              </a:ext>
            </a:extLst>
          </p:cNvPr>
          <p:cNvSpPr/>
          <p:nvPr/>
        </p:nvSpPr>
        <p:spPr>
          <a:xfrm>
            <a:off x="9382495" y="3138226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480C539-2E84-5448-864F-98230A635164}"/>
              </a:ext>
            </a:extLst>
          </p:cNvPr>
          <p:cNvSpPr/>
          <p:nvPr/>
        </p:nvSpPr>
        <p:spPr>
          <a:xfrm>
            <a:off x="657762" y="4600870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6AAA4C9-D509-2941-8EC5-0BB2C95B5B49}"/>
              </a:ext>
            </a:extLst>
          </p:cNvPr>
          <p:cNvSpPr/>
          <p:nvPr/>
        </p:nvSpPr>
        <p:spPr>
          <a:xfrm>
            <a:off x="2857501" y="4600870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DBFC086-589E-484C-A405-63607328978F}"/>
              </a:ext>
            </a:extLst>
          </p:cNvPr>
          <p:cNvSpPr/>
          <p:nvPr/>
        </p:nvSpPr>
        <p:spPr>
          <a:xfrm>
            <a:off x="5057240" y="4600870"/>
            <a:ext cx="207125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D8B4173-0456-0A41-B212-8C29A3560F12}"/>
              </a:ext>
            </a:extLst>
          </p:cNvPr>
          <p:cNvSpPr/>
          <p:nvPr/>
        </p:nvSpPr>
        <p:spPr>
          <a:xfrm>
            <a:off x="7178632" y="4600870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D63F219-A08D-1946-82E7-B0DF3CAB8C7D}"/>
              </a:ext>
            </a:extLst>
          </p:cNvPr>
          <p:cNvSpPr/>
          <p:nvPr/>
        </p:nvSpPr>
        <p:spPr>
          <a:xfrm>
            <a:off x="9378371" y="4600870"/>
            <a:ext cx="2171865" cy="1406236"/>
          </a:xfrm>
          <a:prstGeom prst="rect">
            <a:avLst/>
          </a:prstGeom>
          <a:noFill/>
          <a:ln w="12700" cap="flat">
            <a:solidFill>
              <a:srgbClr val="00000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ctr" defTabSz="8255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srgbClr val="5B9BD5">
                  <a:hueOff val="-587578"/>
                  <a:satOff val="-94461"/>
                  <a:lumOff val="59582"/>
                </a:srgbClr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9CEC693-575B-C94D-A0B9-9802A577D12F}"/>
              </a:ext>
            </a:extLst>
          </p:cNvPr>
          <p:cNvSpPr/>
          <p:nvPr/>
        </p:nvSpPr>
        <p:spPr>
          <a:xfrm>
            <a:off x="571803" y="369741"/>
            <a:ext cx="50385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type of experience we need to create: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7998854-54D7-8342-8E55-A5F4B41AF8D2}"/>
              </a:ext>
            </a:extLst>
          </p:cNvPr>
          <p:cNvSpPr/>
          <p:nvPr/>
        </p:nvSpPr>
        <p:spPr>
          <a:xfrm rot="16200000">
            <a:off x="13872" y="2205007"/>
            <a:ext cx="78739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ND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68C0C78-737F-2543-B816-9579D8E2B91F}"/>
              </a:ext>
            </a:extLst>
          </p:cNvPr>
          <p:cNvSpPr/>
          <p:nvPr/>
        </p:nvSpPr>
        <p:spPr>
          <a:xfrm rot="16200000">
            <a:off x="38719" y="3658470"/>
            <a:ext cx="73770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AIL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FBD7484-4454-864F-A92A-A77A72CB9847}"/>
              </a:ext>
            </a:extLst>
          </p:cNvPr>
          <p:cNvSpPr/>
          <p:nvPr/>
        </p:nvSpPr>
        <p:spPr>
          <a:xfrm rot="16200000">
            <a:off x="-118322" y="5198858"/>
            <a:ext cx="104169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NER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DAB1C42-B931-0041-BA9B-BBCFD4FB7CD3}"/>
              </a:ext>
            </a:extLst>
          </p:cNvPr>
          <p:cNvSpPr/>
          <p:nvPr/>
        </p:nvSpPr>
        <p:spPr>
          <a:xfrm>
            <a:off x="2857501" y="1783577"/>
            <a:ext cx="1797287" cy="8965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everyone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usted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eryday enjoyment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EC1CB01-3A5B-4C4E-BD55-59CDC97BF995}"/>
              </a:ext>
            </a:extLst>
          </p:cNvPr>
          <p:cNvSpPr/>
          <p:nvPr/>
        </p:nvSpPr>
        <p:spPr>
          <a:xfrm>
            <a:off x="710001" y="1795451"/>
            <a:ext cx="1566454" cy="8965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everyone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est price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eryday saving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BA8DC18-F653-C842-B4AA-54B2EC9D4BB9}"/>
              </a:ext>
            </a:extLst>
          </p:cNvPr>
          <p:cNvSpPr/>
          <p:nvPr/>
        </p:nvSpPr>
        <p:spPr>
          <a:xfrm>
            <a:off x="5141156" y="1783576"/>
            <a:ext cx="1337226" cy="8965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achievers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value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st quality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C44E49AC-1D30-BB41-9AD5-6E9F618FF057}"/>
              </a:ext>
            </a:extLst>
          </p:cNvPr>
          <p:cNvSpPr/>
          <p:nvPr/>
        </p:nvSpPr>
        <p:spPr>
          <a:xfrm>
            <a:off x="7259547" y="1812721"/>
            <a:ext cx="1524776" cy="8965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select few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refully crafted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fined taste 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BD6096F-8F40-C946-83A4-65E7B39A7D17}"/>
              </a:ext>
            </a:extLst>
          </p:cNvPr>
          <p:cNvSpPr/>
          <p:nvPr/>
        </p:nvSpPr>
        <p:spPr>
          <a:xfrm>
            <a:off x="9443287" y="1823357"/>
            <a:ext cx="1468672" cy="8965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te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ters of craft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ber lifestyle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8712649-435E-B949-873A-DB19EC1467A4}"/>
              </a:ext>
            </a:extLst>
          </p:cNvPr>
          <p:cNvSpPr/>
          <p:nvPr/>
        </p:nvSpPr>
        <p:spPr>
          <a:xfrm>
            <a:off x="710001" y="3227893"/>
            <a:ext cx="1463862" cy="8965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ge discounts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lk buying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upons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D20D8AD-24B4-1347-B507-7FB9FC39CA5A}"/>
              </a:ext>
            </a:extLst>
          </p:cNvPr>
          <p:cNvSpPr/>
          <p:nvPr/>
        </p:nvSpPr>
        <p:spPr>
          <a:xfrm>
            <a:off x="656016" y="4756347"/>
            <a:ext cx="2008883" cy="8965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ss Wholesale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est reach channels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ggest retail chain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75E9EC9-B8CF-7943-8E24-FABD618DDDC1}"/>
              </a:ext>
            </a:extLst>
          </p:cNvPr>
          <p:cNvSpPr/>
          <p:nvPr/>
        </p:nvSpPr>
        <p:spPr>
          <a:xfrm>
            <a:off x="2962996" y="3211071"/>
            <a:ext cx="1750800" cy="8965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counts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y 1 get 1 free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usable packaging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1168AF6-4F69-4248-8D30-17EF6BE3804F}"/>
              </a:ext>
            </a:extLst>
          </p:cNvPr>
          <p:cNvSpPr/>
          <p:nvPr/>
        </p:nvSpPr>
        <p:spPr>
          <a:xfrm>
            <a:off x="2962996" y="4746064"/>
            <a:ext cx="1838965" cy="89652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yalty programs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g financial institutes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ail chains 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2846591-572A-244A-B984-7B93B8C6F10A}"/>
              </a:ext>
            </a:extLst>
          </p:cNvPr>
          <p:cNvSpPr/>
          <p:nvPr/>
        </p:nvSpPr>
        <p:spPr>
          <a:xfrm>
            <a:off x="5148240" y="3262050"/>
            <a:ext cx="1438214" cy="11735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limentary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vouchers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es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ories 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6F5EA97-28C1-B841-8BC9-59DF55BF2796}"/>
              </a:ext>
            </a:extLst>
          </p:cNvPr>
          <p:cNvSpPr/>
          <p:nvPr/>
        </p:nvSpPr>
        <p:spPr>
          <a:xfrm>
            <a:off x="5098013" y="4756081"/>
            <a:ext cx="2018783" cy="896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her premium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and luxury brands 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cific environments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60A45B8-24BD-7446-850D-85BEC271792A}"/>
              </a:ext>
            </a:extLst>
          </p:cNvPr>
          <p:cNvSpPr/>
          <p:nvPr/>
        </p:nvSpPr>
        <p:spPr>
          <a:xfrm>
            <a:off x="7252887" y="3218957"/>
            <a:ext cx="2018783" cy="61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es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ories 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26DD5AA-590F-F54A-B398-F34A95F72CD8}"/>
              </a:ext>
            </a:extLst>
          </p:cNvPr>
          <p:cNvSpPr/>
          <p:nvPr/>
        </p:nvSpPr>
        <p:spPr>
          <a:xfrm>
            <a:off x="7236009" y="4756080"/>
            <a:ext cx="2018783" cy="34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che environments 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78EA70FD-4ADB-7B40-BAC7-5AFDB2548460}"/>
              </a:ext>
            </a:extLst>
          </p:cNvPr>
          <p:cNvSpPr/>
          <p:nvPr/>
        </p:nvSpPr>
        <p:spPr>
          <a:xfrm>
            <a:off x="9407874" y="4756080"/>
            <a:ext cx="2018783" cy="34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 mostly 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DF8D3243-583D-924D-9089-E7007C8646FA}"/>
              </a:ext>
            </a:extLst>
          </p:cNvPr>
          <p:cNvSpPr/>
          <p:nvPr/>
        </p:nvSpPr>
        <p:spPr>
          <a:xfrm>
            <a:off x="9463216" y="3228055"/>
            <a:ext cx="2018783" cy="61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es</a:t>
            </a:r>
          </a:p>
          <a:p>
            <a:pPr marL="177800" marR="0" lvl="0" indent="-1778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C003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ories 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DC987CDD-C0D5-CE4A-BEEF-4B39DF44FE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428" y="6086149"/>
            <a:ext cx="1152029" cy="73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629754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73E7EE5-9299-7548-973C-FAFB75BFD311}"/>
              </a:ext>
            </a:extLst>
          </p:cNvPr>
          <p:cNvSpPr txBox="1"/>
          <p:nvPr/>
        </p:nvSpPr>
        <p:spPr>
          <a:xfrm>
            <a:off x="741388" y="444137"/>
            <a:ext cx="834792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uli" pitchFamily="2" charset="77"/>
                <a:ea typeface="Gilroy Bold Italic" charset="0"/>
                <a:cs typeface="Gilroy Bold Italic" charset="0"/>
              </a:rPr>
              <a:t>Identify our strongest entry point into our story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F8F3E9B-27F0-A945-A4D7-0A53C07E70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786" y="1402560"/>
            <a:ext cx="9784394" cy="501130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62876E4-EC3F-04DD-6DD8-AFC60385F039}"/>
              </a:ext>
            </a:extLst>
          </p:cNvPr>
          <p:cNvSpPr txBox="1"/>
          <p:nvPr/>
        </p:nvSpPr>
        <p:spPr>
          <a:xfrm>
            <a:off x="10255449" y="1771891"/>
            <a:ext cx="184704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o organis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o consum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FB1C59A-DF53-B1B3-9D70-594D67EB2350}"/>
              </a:ext>
            </a:extLst>
          </p:cNvPr>
          <p:cNvSpPr txBox="1"/>
          <p:nvPr/>
        </p:nvSpPr>
        <p:spPr>
          <a:xfrm>
            <a:off x="10255449" y="4179510"/>
            <a:ext cx="18439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ere and Wh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0354A8-7422-2343-92BF-D3BBE8FAB0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10228" y="5942232"/>
            <a:ext cx="1152029" cy="73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8251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GUID" val="6a510a70-0b55-4792-8b7a-eb9a529b83a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3_gzP8_BeDqIuQhLQm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x_LVrDOhc6B3ttg6DREQ"/>
</p:tagLst>
</file>

<file path=ppt/theme/theme1.xml><?xml version="1.0" encoding="utf-8"?>
<a:theme xmlns:a="http://schemas.openxmlformats.org/drawingml/2006/main" name="WSA 16:9 template">
  <a:themeElements>
    <a:clrScheme name="WSA">
      <a:dk1>
        <a:srgbClr val="26242E"/>
      </a:dk1>
      <a:lt1>
        <a:srgbClr val="FFFFFF"/>
      </a:lt1>
      <a:dk2>
        <a:srgbClr val="7B7E8F"/>
      </a:dk2>
      <a:lt2>
        <a:srgbClr val="F1F0F0"/>
      </a:lt2>
      <a:accent1>
        <a:srgbClr val="7000FF"/>
      </a:accent1>
      <a:accent2>
        <a:srgbClr val="515065"/>
      </a:accent2>
      <a:accent3>
        <a:srgbClr val="FF534B"/>
      </a:accent3>
      <a:accent4>
        <a:srgbClr val="48CCF0"/>
      </a:accent4>
      <a:accent5>
        <a:srgbClr val="00B295"/>
      </a:accent5>
      <a:accent6>
        <a:srgbClr val="FF901D"/>
      </a:accent6>
      <a:hlink>
        <a:srgbClr val="7000FF"/>
      </a:hlink>
      <a:folHlink>
        <a:srgbClr val="FF901D"/>
      </a:folHlink>
    </a:clrScheme>
    <a:fontScheme name="WS Audiology">
      <a:majorFont>
        <a:latin typeface="Noto Sans"/>
        <a:ea typeface=""/>
        <a:cs typeface=""/>
      </a:majorFont>
      <a:minorFont>
        <a:latin typeface="Noto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90000" tIns="90000" rIns="90000" bIns="90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90000" rIns="90000" bIns="9000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gnia White">
      <a:srgbClr val="FFFFFF"/>
    </a:custClr>
    <a:custClr name="Signia Dark Grey">
      <a:srgbClr val="706F6F"/>
    </a:custClr>
    <a:custClr name="Signia Light Grey">
      <a:srgbClr val="EDEDED"/>
    </a:custClr>
    <a:custClr name="Signia Black">
      <a:srgbClr val="000000"/>
    </a:custClr>
    <a:custClr name="Signia Red">
      <a:srgbClr val="DB0926"/>
    </a:custClr>
    <a:custClr name="Signia Orange">
      <a:srgbClr val="EF7D00"/>
    </a:custClr>
    <a:custClr name="Signia Magenta">
      <a:srgbClr val="E60074"/>
    </a:custClr>
    <a:custClr name="Signia Purple">
      <a:srgbClr val="5C2483"/>
    </a:custClr>
    <a:custClr name="Signia Blue">
      <a:srgbClr val="005CA9"/>
    </a:custClr>
    <a:custClr name="Signia Green">
      <a:srgbClr val="78B928"/>
    </a:custClr>
    <a:custClr name="Widex White">
      <a:srgbClr val="FFFFFF"/>
    </a:custClr>
    <a:custClr name="Widex Dark Grey">
      <a:srgbClr val="262626"/>
    </a:custClr>
    <a:custClr name="Widex White">
      <a:srgbClr val="FFFFFF"/>
    </a:custClr>
    <a:custClr name="Widex Dark Grey">
      <a:srgbClr val="262626"/>
    </a:custClr>
    <a:custClr name="Widex Blue Grey">
      <a:srgbClr val="2D3E4B"/>
    </a:custClr>
    <a:custClr name="Widex Dark Teal">
      <a:srgbClr val="00547D"/>
    </a:custClr>
    <a:custClr name="Widex Turquoise">
      <a:srgbClr val="0076AA"/>
    </a:custClr>
    <a:custClr name="Widex Blue">
      <a:srgbClr val="3D91CC"/>
    </a:custClr>
    <a:custClr name="Widex Blue-Grey">
      <a:srgbClr val="57738F"/>
    </a:custClr>
    <a:custClr name="Widex Blue-Grey">
      <a:srgbClr val="98AABA"/>
    </a:custClr>
    <a:custClr name="Rexton White">
      <a:srgbClr val="FFFFFF"/>
    </a:custClr>
    <a:custClr name="Rexton Dark Grey">
      <a:srgbClr val="414042"/>
    </a:custClr>
    <a:custClr name="Rexton White">
      <a:srgbClr val="FFFFFF"/>
    </a:custClr>
    <a:custClr name="Rexton Black">
      <a:srgbClr val="000000"/>
    </a:custClr>
    <a:custClr name="Rexton Red">
      <a:srgbClr val="C90019"/>
    </a:custClr>
    <a:custClr name="Rexton Turquoise">
      <a:srgbClr val="008AB3"/>
    </a:custClr>
    <a:custClr name="Rexton Dark Grey">
      <a:srgbClr val="414042"/>
    </a:custClr>
    <a:custClr name="Rexton Olive Green">
      <a:srgbClr val="B2BB82"/>
    </a:custClr>
    <a:custClr name="Rexton Pink">
      <a:srgbClr val="B01F5E"/>
    </a:custClr>
    <a:custClr name="Rexton Red">
      <a:srgbClr val="C90019"/>
    </a:custClr>
    <a:custClr name="A&amp;M White">
      <a:srgbClr val="FFFFFF"/>
    </a:custClr>
    <a:custClr name="A&amp;M Dark Grey">
      <a:srgbClr val="706F6F"/>
    </a:custClr>
    <a:custClr name="A&amp;M Light Grey">
      <a:srgbClr val="EDEDED"/>
    </a:custClr>
    <a:custClr name="A&amp;M Black">
      <a:srgbClr val="000000"/>
    </a:custClr>
    <a:custClr name="A&amp;M Black">
      <a:srgbClr val="000000"/>
    </a:custClr>
    <a:custClr name="A&amp;M Orange">
      <a:srgbClr val="EF7D00"/>
    </a:custClr>
    <a:custClr name="A&amp;M Grey">
      <a:srgbClr val="7F7F7F"/>
    </a:custClr>
    <a:custClr name="A&amp;M Grey">
      <a:srgbClr val="A5A5A5"/>
    </a:custClr>
    <a:custClr name="A&amp;M Light Grey">
      <a:srgbClr val="BFBFBF"/>
    </a:custClr>
    <a:custClr name="A&amp;M Light Grey">
      <a:srgbClr val="D8D8D8"/>
    </a:custClr>
    <a:custClr name="Audioservice White">
      <a:srgbClr val="FFFFFF"/>
    </a:custClr>
    <a:custClr name="Audioservice Blue-Grey">
      <a:srgbClr val="44546A"/>
    </a:custClr>
    <a:custClr name="Audioservice White">
      <a:srgbClr val="FFFFFF"/>
    </a:custClr>
    <a:custClr name="Audioservice Blue-Grey">
      <a:srgbClr val="44546A"/>
    </a:custClr>
    <a:custClr name="Audioservice Main Blue">
      <a:srgbClr val="25327B"/>
    </a:custClr>
    <a:custClr name="Audioservice Yellow">
      <a:srgbClr val="FFCC00"/>
    </a:custClr>
    <a:custClr name="Audioservice Light Green">
      <a:srgbClr val="D4E3D7"/>
    </a:custClr>
    <a:custClr name="Audioservice Light Blue">
      <a:srgbClr val="D1E1F5"/>
    </a:custClr>
    <a:custClr name="Audioservice Light Grey">
      <a:srgbClr val="F0EDEA"/>
    </a:custClr>
    <a:custClr name="Audioservice Light Pink">
      <a:srgbClr val="EBC1CE"/>
    </a:custClr>
  </a:custClrLst>
  <a:extLst>
    <a:ext uri="{05A4C25C-085E-4340-85A3-A5531E510DB2}">
      <thm15:themeFamily xmlns:thm15="http://schemas.microsoft.com/office/thememl/2012/main" name="WSA presentation template" id="{9CEBA9BA-BA46-2D42-AEE3-08A8A10B5AED}" vid="{62320FB3-3366-D443-81C8-2FDB04A2155D}"/>
    </a:ext>
  </a:extLst>
</a:theme>
</file>

<file path=ppt/theme/theme2.xml><?xml version="1.0" encoding="utf-8"?>
<a:theme xmlns:a="http://schemas.openxmlformats.org/drawingml/2006/main" name="1_Cover Masters">
  <a:themeElements>
    <a:clrScheme name="Wetitlity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w Cen MT-Rockwell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Grek" typeface="Cambria"/>
        <a:font script="Cyrl" typeface="Cambria"/>
        <a:font script="Jpan" typeface="HG明朝B"/>
        <a:font script="Hang" typeface="바탕"/>
        <a:font script="Hans" typeface="方正姚体"/>
        <a:font script="Hant" typeface="標楷體"/>
        <a:font script="Arab" typeface="Times New Roman"/>
        <a:font script="Hebr" typeface="David"/>
        <a:font script="Thai" typeface="Jasmine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64</TotalTime>
  <Words>143</Words>
  <Application>Microsoft Macintosh PowerPoint</Application>
  <PresentationFormat>Widescreen</PresentationFormat>
  <Paragraphs>67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1" baseType="lpstr">
      <vt:lpstr>Arial</vt:lpstr>
      <vt:lpstr>Calibri</vt:lpstr>
      <vt:lpstr>Calibri Light</vt:lpstr>
      <vt:lpstr>Gilroy</vt:lpstr>
      <vt:lpstr>Gilroy Bold</vt:lpstr>
      <vt:lpstr>Gilroy Medium</vt:lpstr>
      <vt:lpstr>Gilroy SemiBold</vt:lpstr>
      <vt:lpstr>Helvetica Light</vt:lpstr>
      <vt:lpstr>Lato</vt:lpstr>
      <vt:lpstr>Merriweather Sans</vt:lpstr>
      <vt:lpstr>Muli</vt:lpstr>
      <vt:lpstr>Noto Sans</vt:lpstr>
      <vt:lpstr>Wingdings</vt:lpstr>
      <vt:lpstr>WSA 16:9 template</vt:lpstr>
      <vt:lpstr>1_Cover Masters</vt:lpstr>
      <vt:lpstr>6_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delaine</dc:creator>
  <cp:lastModifiedBy>Madelaine</cp:lastModifiedBy>
  <cp:revision>159</cp:revision>
  <dcterms:created xsi:type="dcterms:W3CDTF">2021-10-01T11:16:40Z</dcterms:created>
  <dcterms:modified xsi:type="dcterms:W3CDTF">2023-11-28T13:19:30Z</dcterms:modified>
</cp:coreProperties>
</file>